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68" r:id="rId5"/>
    <p:sldMasterId id="2147483790" r:id="rId6"/>
    <p:sldMasterId id="2147483810" r:id="rId7"/>
    <p:sldMasterId id="2147483830" r:id="rId8"/>
    <p:sldMasterId id="2147483850" r:id="rId9"/>
    <p:sldMasterId id="2147483870" r:id="rId10"/>
  </p:sldMasterIdLst>
  <p:notesMasterIdLst>
    <p:notesMasterId r:id="rId39"/>
  </p:notesMasterIdLst>
  <p:sldIdLst>
    <p:sldId id="256" r:id="rId11"/>
    <p:sldId id="1267" r:id="rId12"/>
    <p:sldId id="1352" r:id="rId13"/>
    <p:sldId id="1272" r:id="rId14"/>
    <p:sldId id="1270" r:id="rId15"/>
    <p:sldId id="1396" r:id="rId16"/>
    <p:sldId id="1399" r:id="rId17"/>
    <p:sldId id="1401" r:id="rId18"/>
    <p:sldId id="1397" r:id="rId19"/>
    <p:sldId id="1268" r:id="rId20"/>
    <p:sldId id="1353" r:id="rId21"/>
    <p:sldId id="1354" r:id="rId22"/>
    <p:sldId id="1355" r:id="rId23"/>
    <p:sldId id="1356" r:id="rId24"/>
    <p:sldId id="1400" r:id="rId25"/>
    <p:sldId id="1274" r:id="rId26"/>
    <p:sldId id="1395" r:id="rId27"/>
    <p:sldId id="1334" r:id="rId28"/>
    <p:sldId id="1357" r:id="rId29"/>
    <p:sldId id="1335" r:id="rId30"/>
    <p:sldId id="1368" r:id="rId31"/>
    <p:sldId id="1392" r:id="rId32"/>
    <p:sldId id="1394" r:id="rId33"/>
    <p:sldId id="1336" r:id="rId34"/>
    <p:sldId id="1358" r:id="rId35"/>
    <p:sldId id="1307" r:id="rId36"/>
    <p:sldId id="1359" r:id="rId37"/>
    <p:sldId id="1305" r:id="rId38"/>
  </p:sldIdLst>
  <p:sldSz cx="9144000" cy="6858000" type="screen4x3"/>
  <p:notesSz cx="6858000" cy="9144000"/>
  <p:embeddedFontLst>
    <p:embeddedFont>
      <p:font typeface="Credit Suisse Headline" panose="020B0504030101020102" charset="0"/>
      <p:regular r:id="rId40"/>
      <p:bold r:id="rId41"/>
    </p:embeddedFont>
    <p:embeddedFont>
      <p:font typeface="Credit Suisse Type Light" panose="020B0703040503020204" charset="0"/>
      <p:regular r:id="rId42"/>
      <p:bold r:id="rId43"/>
      <p:italic r:id="rId44"/>
    </p:embeddedFont>
    <p:embeddedFont>
      <p:font typeface="Credit Suisse Type Roman" panose="020B0A03040503020204" charset="0"/>
      <p:regular r:id="rId45"/>
      <p:bold r:id="rId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 to our new PPT" id="{8196B382-D0B5-4C61-BE33-234C0CB32CEF}">
          <p14:sldIdLst>
            <p14:sldId id="256"/>
            <p14:sldId id="1267"/>
            <p14:sldId id="1352"/>
            <p14:sldId id="1272"/>
            <p14:sldId id="1270"/>
            <p14:sldId id="1396"/>
            <p14:sldId id="1399"/>
            <p14:sldId id="1401"/>
            <p14:sldId id="1397"/>
            <p14:sldId id="1268"/>
            <p14:sldId id="1353"/>
            <p14:sldId id="1354"/>
            <p14:sldId id="1355"/>
            <p14:sldId id="1356"/>
            <p14:sldId id="1400"/>
            <p14:sldId id="1274"/>
            <p14:sldId id="1395"/>
            <p14:sldId id="1334"/>
            <p14:sldId id="1357"/>
            <p14:sldId id="1335"/>
            <p14:sldId id="1368"/>
            <p14:sldId id="1392"/>
            <p14:sldId id="1394"/>
            <p14:sldId id="1336"/>
            <p14:sldId id="1358"/>
            <p14:sldId id="1307"/>
            <p14:sldId id="1359"/>
            <p14:sldId id="1305"/>
          </p14:sldIdLst>
        </p14:section>
      </p14:sectionLst>
    </p:ext>
    <p:ext uri="{EFAFB233-063F-42B5-8137-9DF3F51BA10A}">
      <p15:sldGuideLst xmlns:p15="http://schemas.microsoft.com/office/powerpoint/2012/main">
        <p15:guide id="2" pos="2948">
          <p15:clr>
            <a:srgbClr val="A4A3A4"/>
          </p15:clr>
        </p15:guide>
        <p15:guide id="3" orient="horz" pos="3838">
          <p15:clr>
            <a:srgbClr val="A4A3A4"/>
          </p15:clr>
        </p15:guide>
        <p15:guide id="4" pos="2812">
          <p15:clr>
            <a:srgbClr val="A4A3A4"/>
          </p15:clr>
        </p15:guide>
        <p15:guide id="6" pos="5624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orient="horz" pos="618" userDrawn="1">
          <p15:clr>
            <a:srgbClr val="A4A3A4"/>
          </p15:clr>
        </p15:guide>
        <p15:guide id="10" orient="horz" pos="3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AEAEA"/>
    <a:srgbClr val="D7D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27AC94-005D-4961-AEA9-9EC7019818D4}" v="64" dt="2025-06-18T18:17:30.8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2948"/>
        <p:guide orient="horz" pos="3838"/>
        <p:guide pos="2812"/>
        <p:guide pos="5624"/>
        <p:guide pos="2880"/>
        <p:guide orient="horz" pos="618"/>
        <p:guide orient="horz" pos="3385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font" Target="fonts/font3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font" Target="fonts/font5.fntdata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font" Target="fonts/font4.fntdata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4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font" Target="fonts/font7.fntdata"/><Relationship Id="rId20" Type="http://schemas.openxmlformats.org/officeDocument/2006/relationships/slide" Target="slides/slide10.xml"/><Relationship Id="rId41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ässler, Oliver (JPKA 2)" userId="9a89f36f-748e-4f00-b20c-72cbec80bd4a" providerId="ADAL" clId="{5D27AC94-005D-4961-AEA9-9EC7019818D4}"/>
    <pc:docChg chg="undo custSel addSld delSld modSld modSection">
      <pc:chgData name="Fässler, Oliver (JPKA 2)" userId="9a89f36f-748e-4f00-b20c-72cbec80bd4a" providerId="ADAL" clId="{5D27AC94-005D-4961-AEA9-9EC7019818D4}" dt="2025-06-18T18:17:30.884" v="2764" actId="20577"/>
      <pc:docMkLst>
        <pc:docMk/>
      </pc:docMkLst>
      <pc:sldChg chg="modSp mod">
        <pc:chgData name="Fässler, Oliver (JPKA 2)" userId="9a89f36f-748e-4f00-b20c-72cbec80bd4a" providerId="ADAL" clId="{5D27AC94-005D-4961-AEA9-9EC7019818D4}" dt="2025-06-18T18:17:30.884" v="2764" actId="20577"/>
        <pc:sldMkLst>
          <pc:docMk/>
          <pc:sldMk cId="1889315251" sldId="256"/>
        </pc:sldMkLst>
        <pc:spChg chg="mod">
          <ac:chgData name="Fässler, Oliver (JPKA 2)" userId="9a89f36f-748e-4f00-b20c-72cbec80bd4a" providerId="ADAL" clId="{5D27AC94-005D-4961-AEA9-9EC7019818D4}" dt="2025-06-18T18:17:30.884" v="2764" actId="20577"/>
          <ac:spMkLst>
            <pc:docMk/>
            <pc:sldMk cId="1889315251" sldId="256"/>
            <ac:spMk id="4" creationId="{E8171A31-F64B-4FDA-B75D-D7E690871B45}"/>
          </ac:spMkLst>
        </pc:sp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083717802" sldId="258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190879596" sldId="1255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114517570" sldId="1259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106257885" sldId="126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958020560" sldId="1261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111006758" sldId="1262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927570063" sldId="1263"/>
        </pc:sldMkLst>
      </pc:sldChg>
      <pc:sldChg chg="modSp del mod">
        <pc:chgData name="Fässler, Oliver (JPKA 2)" userId="9a89f36f-748e-4f00-b20c-72cbec80bd4a" providerId="ADAL" clId="{5D27AC94-005D-4961-AEA9-9EC7019818D4}" dt="2025-04-11T11:24:07.714" v="2519" actId="47"/>
        <pc:sldMkLst>
          <pc:docMk/>
          <pc:sldMk cId="1823254795" sldId="1266"/>
        </pc:sldMkLst>
      </pc:sldChg>
      <pc:sldChg chg="modSp mod">
        <pc:chgData name="Fässler, Oliver (JPKA 2)" userId="9a89f36f-748e-4f00-b20c-72cbec80bd4a" providerId="ADAL" clId="{5D27AC94-005D-4961-AEA9-9EC7019818D4}" dt="2025-06-18T18:15:14.443" v="2701"/>
        <pc:sldMkLst>
          <pc:docMk/>
          <pc:sldMk cId="3847680607" sldId="1267"/>
        </pc:sldMkLst>
        <pc:graphicFrameChg chg="mod">
          <ac:chgData name="Fässler, Oliver (JPKA 2)" userId="9a89f36f-748e-4f00-b20c-72cbec80bd4a" providerId="ADAL" clId="{5D27AC94-005D-4961-AEA9-9EC7019818D4}" dt="2025-06-18T18:15:14.443" v="2701"/>
          <ac:graphicFrameMkLst>
            <pc:docMk/>
            <pc:sldMk cId="3847680607" sldId="1267"/>
            <ac:graphicFrameMk id="7" creationId="{69DBEC6F-8A14-E292-4137-BCAA0196DD48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37.111" v="2716"/>
        <pc:sldMkLst>
          <pc:docMk/>
          <pc:sldMk cId="1754772826" sldId="1268"/>
        </pc:sldMkLst>
        <pc:graphicFrameChg chg="mod">
          <ac:chgData name="Fässler, Oliver (JPKA 2)" userId="9a89f36f-748e-4f00-b20c-72cbec80bd4a" providerId="ADAL" clId="{5D27AC94-005D-4961-AEA9-9EC7019818D4}" dt="2025-06-18T18:15:37.111" v="2716"/>
          <ac:graphicFrameMkLst>
            <pc:docMk/>
            <pc:sldMk cId="1754772826" sldId="1268"/>
            <ac:graphicFrameMk id="6" creationId="{83253E97-8A78-54D6-5EED-BE9B8A1C2EA1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26.910" v="2708"/>
        <pc:sldMkLst>
          <pc:docMk/>
          <pc:sldMk cId="806225013" sldId="1270"/>
        </pc:sldMkLst>
        <pc:graphicFrameChg chg="mod">
          <ac:chgData name="Fässler, Oliver (JPKA 2)" userId="9a89f36f-748e-4f00-b20c-72cbec80bd4a" providerId="ADAL" clId="{5D27AC94-005D-4961-AEA9-9EC7019818D4}" dt="2025-06-18T18:15:25.643" v="2707"/>
          <ac:graphicFrameMkLst>
            <pc:docMk/>
            <pc:sldMk cId="806225013" sldId="1270"/>
            <ac:graphicFrameMk id="6" creationId="{5720CC35-6023-107B-F6BB-DA7CCB792A76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26.910" v="2708"/>
          <ac:graphicFrameMkLst>
            <pc:docMk/>
            <pc:sldMk cId="806225013" sldId="1270"/>
            <ac:graphicFrameMk id="10" creationId="{21F9B40A-85B1-4A64-6D01-8D5A7EE18637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24.363" v="2706"/>
        <pc:sldMkLst>
          <pc:docMk/>
          <pc:sldMk cId="603430462" sldId="1272"/>
        </pc:sldMkLst>
        <pc:graphicFrameChg chg="mod">
          <ac:chgData name="Fässler, Oliver (JPKA 2)" userId="9a89f36f-748e-4f00-b20c-72cbec80bd4a" providerId="ADAL" clId="{5D27AC94-005D-4961-AEA9-9EC7019818D4}" dt="2025-06-18T18:15:22.813" v="2704"/>
          <ac:graphicFrameMkLst>
            <pc:docMk/>
            <pc:sldMk cId="603430462" sldId="1272"/>
            <ac:graphicFrameMk id="6" creationId="{C2927A55-E4AC-23AB-7980-2662329DBE9C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23.869" v="2705"/>
          <ac:graphicFrameMkLst>
            <pc:docMk/>
            <pc:sldMk cId="603430462" sldId="1272"/>
            <ac:graphicFrameMk id="8" creationId="{665BD66C-B61D-8D0F-DA2D-DB41AE002EF5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24.363" v="2706"/>
          <ac:graphicFrameMkLst>
            <pc:docMk/>
            <pc:sldMk cId="603430462" sldId="1272"/>
            <ac:graphicFrameMk id="9" creationId="{A887E3E1-1407-3DE1-6633-0E060D95A67E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52.644" v="2728"/>
        <pc:sldMkLst>
          <pc:docMk/>
          <pc:sldMk cId="3454923826" sldId="1274"/>
        </pc:sldMkLst>
        <pc:graphicFrameChg chg="mod">
          <ac:chgData name="Fässler, Oliver (JPKA 2)" userId="9a89f36f-748e-4f00-b20c-72cbec80bd4a" providerId="ADAL" clId="{5D27AC94-005D-4961-AEA9-9EC7019818D4}" dt="2025-06-18T18:15:51.134" v="2726"/>
          <ac:graphicFrameMkLst>
            <pc:docMk/>
            <pc:sldMk cId="3454923826" sldId="1274"/>
            <ac:graphicFrameMk id="6" creationId="{E3ED94DE-37A9-493D-3D7B-8408AE270606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51.878" v="2727"/>
          <ac:graphicFrameMkLst>
            <pc:docMk/>
            <pc:sldMk cId="3454923826" sldId="1274"/>
            <ac:graphicFrameMk id="14" creationId="{FE7FCB0B-0FD7-791C-B097-7CB876AD14BC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52.644" v="2728"/>
          <ac:graphicFrameMkLst>
            <pc:docMk/>
            <pc:sldMk cId="3454923826" sldId="1274"/>
            <ac:graphicFrameMk id="16" creationId="{5B64667F-1D99-0965-4641-6B836C71CA82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999276338" sldId="130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4096159573" sldId="1302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085750251" sldId="1303"/>
        </pc:sldMkLst>
      </pc:sldChg>
      <pc:sldChg chg="addSp delSp modSp mod">
        <pc:chgData name="Fässler, Oliver (JPKA 2)" userId="9a89f36f-748e-4f00-b20c-72cbec80bd4a" providerId="ADAL" clId="{5D27AC94-005D-4961-AEA9-9EC7019818D4}" dt="2025-06-18T18:16:39.211" v="2754"/>
        <pc:sldMkLst>
          <pc:docMk/>
          <pc:sldMk cId="3489687034" sldId="1305"/>
        </pc:sldMkLst>
        <pc:graphicFrameChg chg="mod">
          <ac:chgData name="Fässler, Oliver (JPKA 2)" userId="9a89f36f-748e-4f00-b20c-72cbec80bd4a" providerId="ADAL" clId="{5D27AC94-005D-4961-AEA9-9EC7019818D4}" dt="2025-06-18T18:16:27.945" v="2753"/>
          <ac:graphicFrameMkLst>
            <pc:docMk/>
            <pc:sldMk cId="3489687034" sldId="1305"/>
            <ac:graphicFrameMk id="8" creationId="{49076FC9-4E64-8633-7BBE-10B30AEA46B3}"/>
          </ac:graphicFrameMkLst>
        </pc:graphicFrameChg>
        <pc:graphicFrameChg chg="add mod">
          <ac:chgData name="Fässler, Oliver (JPKA 2)" userId="9a89f36f-748e-4f00-b20c-72cbec80bd4a" providerId="ADAL" clId="{5D27AC94-005D-4961-AEA9-9EC7019818D4}" dt="2025-06-18T18:16:39.211" v="2754"/>
          <ac:graphicFrameMkLst>
            <pc:docMk/>
            <pc:sldMk cId="3489687034" sldId="1305"/>
            <ac:graphicFrameMk id="10" creationId="{C4771181-0B8F-18D1-628A-2CEA18C4DF0F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24.197" v="2750"/>
        <pc:sldMkLst>
          <pc:docMk/>
          <pc:sldMk cId="3901376009" sldId="1307"/>
        </pc:sldMkLst>
        <pc:graphicFrameChg chg="mod">
          <ac:chgData name="Fässler, Oliver (JPKA 2)" userId="9a89f36f-748e-4f00-b20c-72cbec80bd4a" providerId="ADAL" clId="{5D27AC94-005D-4961-AEA9-9EC7019818D4}" dt="2025-06-18T18:16:22.959" v="2749"/>
          <ac:graphicFrameMkLst>
            <pc:docMk/>
            <pc:sldMk cId="3901376009" sldId="1307"/>
            <ac:graphicFrameMk id="6" creationId="{321F0ABF-77CA-4482-9DDF-9BA547915D15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24.197" v="2750"/>
          <ac:graphicFrameMkLst>
            <pc:docMk/>
            <pc:sldMk cId="3901376009" sldId="1307"/>
            <ac:graphicFrameMk id="9" creationId="{2D5F6689-5912-4D8B-B285-C50F0C54D077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579161337" sldId="131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608908019" sldId="1315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494715005" sldId="1316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509674211" sldId="1323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715287574" sldId="1324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030541011" sldId="1331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4066457658" sldId="1333"/>
        </pc:sldMkLst>
      </pc:sldChg>
      <pc:sldChg chg="modSp">
        <pc:chgData name="Fässler, Oliver (JPKA 2)" userId="9a89f36f-748e-4f00-b20c-72cbec80bd4a" providerId="ADAL" clId="{5D27AC94-005D-4961-AEA9-9EC7019818D4}" dt="2025-06-18T18:16:04.560" v="2734"/>
        <pc:sldMkLst>
          <pc:docMk/>
          <pc:sldMk cId="789200045" sldId="1334"/>
        </pc:sldMkLst>
        <pc:graphicFrameChg chg="mod">
          <ac:chgData name="Fässler, Oliver (JPKA 2)" userId="9a89f36f-748e-4f00-b20c-72cbec80bd4a" providerId="ADAL" clId="{5D27AC94-005D-4961-AEA9-9EC7019818D4}" dt="2025-06-18T18:16:02.317" v="2731"/>
          <ac:graphicFrameMkLst>
            <pc:docMk/>
            <pc:sldMk cId="789200045" sldId="1334"/>
            <ac:graphicFrameMk id="6" creationId="{81148A60-ED46-5415-3BE7-44BABE2D72AA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3.187" v="2732"/>
          <ac:graphicFrameMkLst>
            <pc:docMk/>
            <pc:sldMk cId="789200045" sldId="1334"/>
            <ac:graphicFrameMk id="14" creationId="{30E798E9-07AE-8ED4-7FA7-D757C316FD27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3.960" v="2733"/>
          <ac:graphicFrameMkLst>
            <pc:docMk/>
            <pc:sldMk cId="789200045" sldId="1334"/>
            <ac:graphicFrameMk id="15" creationId="{1326DED4-2FA3-630A-8373-53CA006233E4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4.560" v="2734"/>
          <ac:graphicFrameMkLst>
            <pc:docMk/>
            <pc:sldMk cId="789200045" sldId="1334"/>
            <ac:graphicFrameMk id="16" creationId="{53F5A09C-DEED-ACA6-052B-772E4A19B457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07.893" v="2738"/>
        <pc:sldMkLst>
          <pc:docMk/>
          <pc:sldMk cId="2835590092" sldId="1335"/>
        </pc:sldMkLst>
        <pc:graphicFrameChg chg="mod">
          <ac:chgData name="Fässler, Oliver (JPKA 2)" userId="9a89f36f-748e-4f00-b20c-72cbec80bd4a" providerId="ADAL" clId="{5D27AC94-005D-4961-AEA9-9EC7019818D4}" dt="2025-06-18T18:16:07.224" v="2737"/>
          <ac:graphicFrameMkLst>
            <pc:docMk/>
            <pc:sldMk cId="2835590092" sldId="1335"/>
            <ac:graphicFrameMk id="6" creationId="{76167DBE-0A8F-0035-C28B-57C6CE5932A8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7.893" v="2738"/>
          <ac:graphicFrameMkLst>
            <pc:docMk/>
            <pc:sldMk cId="2835590092" sldId="1335"/>
            <ac:graphicFrameMk id="8" creationId="{95B09E54-5068-064B-8DA0-FBD21A071862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15.019" v="2746"/>
        <pc:sldMkLst>
          <pc:docMk/>
          <pc:sldMk cId="828240093" sldId="1336"/>
        </pc:sldMkLst>
        <pc:graphicFrameChg chg="mod">
          <ac:chgData name="Fässler, Oliver (JPKA 2)" userId="9a89f36f-748e-4f00-b20c-72cbec80bd4a" providerId="ADAL" clId="{5D27AC94-005D-4961-AEA9-9EC7019818D4}" dt="2025-06-18T18:16:13.194" v="2745"/>
          <ac:graphicFrameMkLst>
            <pc:docMk/>
            <pc:sldMk cId="828240093" sldId="1336"/>
            <ac:graphicFrameMk id="10" creationId="{072ECD41-58AA-2120-B1ED-A52C4868E41E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15.019" v="2746"/>
          <ac:graphicFrameMkLst>
            <pc:docMk/>
            <pc:sldMk cId="828240093" sldId="1336"/>
            <ac:graphicFrameMk id="12" creationId="{AC7C94A5-2383-4913-2ABF-5F8A1304F85D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182701688" sldId="134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426590486" sldId="1341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795353216" sldId="1342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956992687" sldId="1343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958140295" sldId="1344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344822318" sldId="1345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145001656" sldId="1346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114164608" sldId="1347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4267386111" sldId="1348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848407690" sldId="1349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602362000" sldId="135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465033605" sldId="1351"/>
        </pc:sldMkLst>
      </pc:sldChg>
      <pc:sldChg chg="modSp">
        <pc:chgData name="Fässler, Oliver (JPKA 2)" userId="9a89f36f-748e-4f00-b20c-72cbec80bd4a" providerId="ADAL" clId="{5D27AC94-005D-4961-AEA9-9EC7019818D4}" dt="2025-06-18T18:15:17.715" v="2703"/>
        <pc:sldMkLst>
          <pc:docMk/>
          <pc:sldMk cId="717603934" sldId="1352"/>
        </pc:sldMkLst>
        <pc:graphicFrameChg chg="mod">
          <ac:chgData name="Fässler, Oliver (JPKA 2)" userId="9a89f36f-748e-4f00-b20c-72cbec80bd4a" providerId="ADAL" clId="{5D27AC94-005D-4961-AEA9-9EC7019818D4}" dt="2025-06-18T18:15:15.873" v="2702"/>
          <ac:graphicFrameMkLst>
            <pc:docMk/>
            <pc:sldMk cId="717603934" sldId="1352"/>
            <ac:graphicFrameMk id="12" creationId="{5AB94D5C-C261-8666-D594-63A47C447AAB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17.715" v="2703"/>
          <ac:graphicFrameMkLst>
            <pc:docMk/>
            <pc:sldMk cId="717603934" sldId="1352"/>
            <ac:graphicFrameMk id="14" creationId="{D29BAE12-8DB8-C234-7D84-D7F62C984F43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39.078" v="2718"/>
        <pc:sldMkLst>
          <pc:docMk/>
          <pc:sldMk cId="4231800599" sldId="1353"/>
        </pc:sldMkLst>
        <pc:graphicFrameChg chg="mod">
          <ac:chgData name="Fässler, Oliver (JPKA 2)" userId="9a89f36f-748e-4f00-b20c-72cbec80bd4a" providerId="ADAL" clId="{5D27AC94-005D-4961-AEA9-9EC7019818D4}" dt="2025-06-18T18:15:38.244" v="2717"/>
          <ac:graphicFrameMkLst>
            <pc:docMk/>
            <pc:sldMk cId="4231800599" sldId="1353"/>
            <ac:graphicFrameMk id="6" creationId="{14F20BC5-7969-E91A-1E4A-735E493789B9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39.078" v="2718"/>
          <ac:graphicFrameMkLst>
            <pc:docMk/>
            <pc:sldMk cId="4231800599" sldId="1353"/>
            <ac:graphicFrameMk id="7" creationId="{22454D95-C34B-AC80-073F-0C325C6BC5C0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42.331" v="2720"/>
        <pc:sldMkLst>
          <pc:docMk/>
          <pc:sldMk cId="627792366" sldId="1354"/>
        </pc:sldMkLst>
        <pc:graphicFrameChg chg="mod">
          <ac:chgData name="Fässler, Oliver (JPKA 2)" userId="9a89f36f-748e-4f00-b20c-72cbec80bd4a" providerId="ADAL" clId="{5D27AC94-005D-4961-AEA9-9EC7019818D4}" dt="2025-06-18T18:15:42.331" v="2720"/>
          <ac:graphicFrameMkLst>
            <pc:docMk/>
            <pc:sldMk cId="627792366" sldId="1354"/>
            <ac:graphicFrameMk id="6" creationId="{B07856AC-2255-C566-E079-5EF147D3E24A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41.280" v="2719"/>
          <ac:graphicFrameMkLst>
            <pc:docMk/>
            <pc:sldMk cId="627792366" sldId="1354"/>
            <ac:graphicFrameMk id="9" creationId="{F7778346-065D-F055-41F5-F663589E2BDE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44.587" v="2722"/>
        <pc:sldMkLst>
          <pc:docMk/>
          <pc:sldMk cId="872955710" sldId="1355"/>
        </pc:sldMkLst>
        <pc:graphicFrameChg chg="mod">
          <ac:chgData name="Fässler, Oliver (JPKA 2)" userId="9a89f36f-748e-4f00-b20c-72cbec80bd4a" providerId="ADAL" clId="{5D27AC94-005D-4961-AEA9-9EC7019818D4}" dt="2025-06-18T18:15:44.587" v="2722"/>
          <ac:graphicFrameMkLst>
            <pc:docMk/>
            <pc:sldMk cId="872955710" sldId="1355"/>
            <ac:graphicFrameMk id="14" creationId="{5C37931E-F19C-5F35-EF7D-E2591E9744D5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43.409" v="2721"/>
          <ac:graphicFrameMkLst>
            <pc:docMk/>
            <pc:sldMk cId="872955710" sldId="1355"/>
            <ac:graphicFrameMk id="15" creationId="{60E46B86-993F-408E-5706-5B567F2E7EFB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49.029" v="2724"/>
        <pc:sldMkLst>
          <pc:docMk/>
          <pc:sldMk cId="79547860" sldId="1356"/>
        </pc:sldMkLst>
        <pc:graphicFrameChg chg="mod">
          <ac:chgData name="Fässler, Oliver (JPKA 2)" userId="9a89f36f-748e-4f00-b20c-72cbec80bd4a" providerId="ADAL" clId="{5D27AC94-005D-4961-AEA9-9EC7019818D4}" dt="2025-06-18T18:15:45.956" v="2723"/>
          <ac:graphicFrameMkLst>
            <pc:docMk/>
            <pc:sldMk cId="79547860" sldId="1356"/>
            <ac:graphicFrameMk id="6" creationId="{E657C524-9BD1-BCEB-5CBF-BBF79803BC69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49.029" v="2724"/>
          <ac:graphicFrameMkLst>
            <pc:docMk/>
            <pc:sldMk cId="79547860" sldId="1356"/>
            <ac:graphicFrameMk id="9" creationId="{9E8F696F-909A-2D3E-0E47-15302DA3E342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06.542" v="2736"/>
        <pc:sldMkLst>
          <pc:docMk/>
          <pc:sldMk cId="3597531578" sldId="1357"/>
        </pc:sldMkLst>
        <pc:graphicFrameChg chg="mod">
          <ac:chgData name="Fässler, Oliver (JPKA 2)" userId="9a89f36f-748e-4f00-b20c-72cbec80bd4a" providerId="ADAL" clId="{5D27AC94-005D-4961-AEA9-9EC7019818D4}" dt="2025-06-18T18:16:05.795" v="2735"/>
          <ac:graphicFrameMkLst>
            <pc:docMk/>
            <pc:sldMk cId="3597531578" sldId="1357"/>
            <ac:graphicFrameMk id="6" creationId="{E7E73CA4-9EDE-48A5-9892-076490A61DBC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6.542" v="2736"/>
          <ac:graphicFrameMkLst>
            <pc:docMk/>
            <pc:sldMk cId="3597531578" sldId="1357"/>
            <ac:graphicFrameMk id="8" creationId="{BEFD17A6-0975-9192-327D-3C485018D645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19.029" v="2748"/>
        <pc:sldMkLst>
          <pc:docMk/>
          <pc:sldMk cId="1498764007" sldId="1358"/>
        </pc:sldMkLst>
        <pc:graphicFrameChg chg="mod">
          <ac:chgData name="Fässler, Oliver (JPKA 2)" userId="9a89f36f-748e-4f00-b20c-72cbec80bd4a" providerId="ADAL" clId="{5D27AC94-005D-4961-AEA9-9EC7019818D4}" dt="2025-06-18T18:16:18.196" v="2747"/>
          <ac:graphicFrameMkLst>
            <pc:docMk/>
            <pc:sldMk cId="1498764007" sldId="1358"/>
            <ac:graphicFrameMk id="10" creationId="{823E10F0-314F-408B-301E-02013567AAD1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19.029" v="2748"/>
          <ac:graphicFrameMkLst>
            <pc:docMk/>
            <pc:sldMk cId="1498764007" sldId="1358"/>
            <ac:graphicFrameMk id="11" creationId="{4B41DEE8-10C9-9183-E5D7-33AABCD7F207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6:26.924" v="2752"/>
        <pc:sldMkLst>
          <pc:docMk/>
          <pc:sldMk cId="1505087537" sldId="1359"/>
        </pc:sldMkLst>
        <pc:graphicFrameChg chg="mod">
          <ac:chgData name="Fässler, Oliver (JPKA 2)" userId="9a89f36f-748e-4f00-b20c-72cbec80bd4a" providerId="ADAL" clId="{5D27AC94-005D-4961-AEA9-9EC7019818D4}" dt="2025-06-18T18:16:25.734" v="2751"/>
          <ac:graphicFrameMkLst>
            <pc:docMk/>
            <pc:sldMk cId="1505087537" sldId="1359"/>
            <ac:graphicFrameMk id="10" creationId="{C3D512DC-669E-1B8F-01F7-83E16295E2A0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26.924" v="2752"/>
          <ac:graphicFrameMkLst>
            <pc:docMk/>
            <pc:sldMk cId="1505087537" sldId="1359"/>
            <ac:graphicFrameMk id="11" creationId="{C6D86738-21D7-3AF4-0F30-5EF29151B7BD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988586403" sldId="1363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501154068" sldId="1367"/>
        </pc:sldMkLst>
      </pc:sldChg>
      <pc:sldChg chg="modSp">
        <pc:chgData name="Fässler, Oliver (JPKA 2)" userId="9a89f36f-748e-4f00-b20c-72cbec80bd4a" providerId="ADAL" clId="{5D27AC94-005D-4961-AEA9-9EC7019818D4}" dt="2025-06-18T18:16:09.572" v="2740"/>
        <pc:sldMkLst>
          <pc:docMk/>
          <pc:sldMk cId="2738038328" sldId="1368"/>
        </pc:sldMkLst>
        <pc:graphicFrameChg chg="mod">
          <ac:chgData name="Fässler, Oliver (JPKA 2)" userId="9a89f36f-748e-4f00-b20c-72cbec80bd4a" providerId="ADAL" clId="{5D27AC94-005D-4961-AEA9-9EC7019818D4}" dt="2025-06-18T18:16:09.234" v="2739"/>
          <ac:graphicFrameMkLst>
            <pc:docMk/>
            <pc:sldMk cId="2738038328" sldId="1368"/>
            <ac:graphicFrameMk id="6" creationId="{A060316E-F44B-76DC-25EC-B77233BF26BF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09.572" v="2740"/>
          <ac:graphicFrameMkLst>
            <pc:docMk/>
            <pc:sldMk cId="2738038328" sldId="1368"/>
            <ac:graphicFrameMk id="8" creationId="{9500A80C-F0B0-E47E-36C2-EC0291CC5448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624293527" sldId="1369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707699499" sldId="137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464327739" sldId="1371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3882826620" sldId="1372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306260106" sldId="1374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1620914173" sldId="1375"/>
        </pc:sldMkLst>
      </pc:sldChg>
      <pc:sldChg chg="modSp">
        <pc:chgData name="Fässler, Oliver (JPKA 2)" userId="9a89f36f-748e-4f00-b20c-72cbec80bd4a" providerId="ADAL" clId="{5D27AC94-005D-4961-AEA9-9EC7019818D4}" dt="2025-06-18T18:16:10.719" v="2742"/>
        <pc:sldMkLst>
          <pc:docMk/>
          <pc:sldMk cId="3822752205" sldId="1392"/>
        </pc:sldMkLst>
        <pc:graphicFrameChg chg="mod">
          <ac:chgData name="Fässler, Oliver (JPKA 2)" userId="9a89f36f-748e-4f00-b20c-72cbec80bd4a" providerId="ADAL" clId="{5D27AC94-005D-4961-AEA9-9EC7019818D4}" dt="2025-06-18T18:16:10.239" v="2741"/>
          <ac:graphicFrameMkLst>
            <pc:docMk/>
            <pc:sldMk cId="3822752205" sldId="1392"/>
            <ac:graphicFrameMk id="6" creationId="{40C1F6D4-7F80-35FA-5B27-B60E0FAE74E8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10.719" v="2742"/>
          <ac:graphicFrameMkLst>
            <pc:docMk/>
            <pc:sldMk cId="3822752205" sldId="1392"/>
            <ac:graphicFrameMk id="8" creationId="{47F3091B-5D4C-4D2D-04CD-B44F344000DB}"/>
          </ac:graphicFrameMkLst>
        </pc:graphicFrameChg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2237104615" sldId="1393"/>
        </pc:sldMkLst>
      </pc:sldChg>
      <pc:sldChg chg="modSp">
        <pc:chgData name="Fässler, Oliver (JPKA 2)" userId="9a89f36f-748e-4f00-b20c-72cbec80bd4a" providerId="ADAL" clId="{5D27AC94-005D-4961-AEA9-9EC7019818D4}" dt="2025-06-18T18:16:12.279" v="2744"/>
        <pc:sldMkLst>
          <pc:docMk/>
          <pc:sldMk cId="3462551902" sldId="1394"/>
        </pc:sldMkLst>
        <pc:graphicFrameChg chg="mod">
          <ac:chgData name="Fässler, Oliver (JPKA 2)" userId="9a89f36f-748e-4f00-b20c-72cbec80bd4a" providerId="ADAL" clId="{5D27AC94-005D-4961-AEA9-9EC7019818D4}" dt="2025-06-18T18:16:11.825" v="2743"/>
          <ac:graphicFrameMkLst>
            <pc:docMk/>
            <pc:sldMk cId="3462551902" sldId="1394"/>
            <ac:graphicFrameMk id="9" creationId="{6B8601FB-FE2C-E11B-D628-8AB520F170B4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6:12.279" v="2744"/>
          <ac:graphicFrameMkLst>
            <pc:docMk/>
            <pc:sldMk cId="3462551902" sldId="1394"/>
            <ac:graphicFrameMk id="10" creationId="{D802C9FA-2C4D-1430-DB91-B60EE80F257E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54.956" v="2730"/>
        <pc:sldMkLst>
          <pc:docMk/>
          <pc:sldMk cId="2074930238" sldId="1395"/>
        </pc:sldMkLst>
        <pc:graphicFrameChg chg="mod">
          <ac:chgData name="Fässler, Oliver (JPKA 2)" userId="9a89f36f-748e-4f00-b20c-72cbec80bd4a" providerId="ADAL" clId="{5D27AC94-005D-4961-AEA9-9EC7019818D4}" dt="2025-06-18T18:15:54.348" v="2729"/>
          <ac:graphicFrameMkLst>
            <pc:docMk/>
            <pc:sldMk cId="2074930238" sldId="1395"/>
            <ac:graphicFrameMk id="7" creationId="{B431E0EB-A8C1-A7D8-6F66-9451AD1A2F17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54.956" v="2730"/>
          <ac:graphicFrameMkLst>
            <pc:docMk/>
            <pc:sldMk cId="2074930238" sldId="1395"/>
            <ac:graphicFrameMk id="9" creationId="{E3A28F99-9DFA-0DD6-E52C-E1CB8FE5F685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27.955" v="2710"/>
        <pc:sldMkLst>
          <pc:docMk/>
          <pc:sldMk cId="679288238" sldId="1396"/>
        </pc:sldMkLst>
        <pc:graphicFrameChg chg="mod">
          <ac:chgData name="Fässler, Oliver (JPKA 2)" userId="9a89f36f-748e-4f00-b20c-72cbec80bd4a" providerId="ADAL" clId="{5D27AC94-005D-4961-AEA9-9EC7019818D4}" dt="2025-06-18T18:15:27.496" v="2709"/>
          <ac:graphicFrameMkLst>
            <pc:docMk/>
            <pc:sldMk cId="679288238" sldId="1396"/>
            <ac:graphicFrameMk id="12" creationId="{49370275-090B-6BCD-CFF4-8F32FA972E45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27.955" v="2710"/>
          <ac:graphicFrameMkLst>
            <pc:docMk/>
            <pc:sldMk cId="679288238" sldId="1396"/>
            <ac:graphicFrameMk id="13" creationId="{C7EF6E5C-18B2-325E-7639-D038A274C338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36.082" v="2715"/>
        <pc:sldMkLst>
          <pc:docMk/>
          <pc:sldMk cId="1933282884" sldId="1397"/>
        </pc:sldMkLst>
        <pc:graphicFrameChg chg="mod">
          <ac:chgData name="Fässler, Oliver (JPKA 2)" userId="9a89f36f-748e-4f00-b20c-72cbec80bd4a" providerId="ADAL" clId="{5D27AC94-005D-4961-AEA9-9EC7019818D4}" dt="2025-06-18T18:15:34.854" v="2714"/>
          <ac:graphicFrameMkLst>
            <pc:docMk/>
            <pc:sldMk cId="1933282884" sldId="1397"/>
            <ac:graphicFrameMk id="6" creationId="{70813693-AE3C-69BD-1DE9-CDD8569949AA}"/>
          </ac:graphicFrameMkLst>
        </pc:graphicFrameChg>
        <pc:graphicFrameChg chg="mod">
          <ac:chgData name="Fässler, Oliver (JPKA 2)" userId="9a89f36f-748e-4f00-b20c-72cbec80bd4a" providerId="ADAL" clId="{5D27AC94-005D-4961-AEA9-9EC7019818D4}" dt="2025-06-18T18:15:36.082" v="2715"/>
          <ac:graphicFrameMkLst>
            <pc:docMk/>
            <pc:sldMk cId="1933282884" sldId="1397"/>
            <ac:graphicFrameMk id="10" creationId="{72D94846-13B0-A626-2418-E74B8F449EEC}"/>
          </ac:graphicFrameMkLst>
        </pc:graphicFrameChg>
      </pc:sldChg>
      <pc:sldChg chg="modSp">
        <pc:chgData name="Fässler, Oliver (JPKA 2)" userId="9a89f36f-748e-4f00-b20c-72cbec80bd4a" providerId="ADAL" clId="{5D27AC94-005D-4961-AEA9-9EC7019818D4}" dt="2025-06-18T18:15:30.303" v="2711"/>
        <pc:sldMkLst>
          <pc:docMk/>
          <pc:sldMk cId="1023876132" sldId="1399"/>
        </pc:sldMkLst>
        <pc:graphicFrameChg chg="mod">
          <ac:chgData name="Fässler, Oliver (JPKA 2)" userId="9a89f36f-748e-4f00-b20c-72cbec80bd4a" providerId="ADAL" clId="{5D27AC94-005D-4961-AEA9-9EC7019818D4}" dt="2025-06-18T18:15:30.303" v="2711"/>
          <ac:graphicFrameMkLst>
            <pc:docMk/>
            <pc:sldMk cId="1023876132" sldId="1399"/>
            <ac:graphicFrameMk id="7" creationId="{72F93B2A-D82A-B90B-2780-B08A4381F4FA}"/>
          </ac:graphicFrameMkLst>
        </pc:graphicFrameChg>
      </pc:sldChg>
      <pc:sldChg chg="addSp delSp modSp new del mod">
        <pc:chgData name="Fässler, Oliver (JPKA 2)" userId="9a89f36f-748e-4f00-b20c-72cbec80bd4a" providerId="ADAL" clId="{5D27AC94-005D-4961-AEA9-9EC7019818D4}" dt="2024-10-04T12:59:34.419" v="201" actId="47"/>
        <pc:sldMkLst>
          <pc:docMk/>
          <pc:sldMk cId="159468592" sldId="1400"/>
        </pc:sldMkLst>
      </pc:sldChg>
      <pc:sldChg chg="del">
        <pc:chgData name="Fässler, Oliver (JPKA 2)" userId="9a89f36f-748e-4f00-b20c-72cbec80bd4a" providerId="ADAL" clId="{5D27AC94-005D-4961-AEA9-9EC7019818D4}" dt="2024-10-04T12:26:07.220" v="2" actId="47"/>
        <pc:sldMkLst>
          <pc:docMk/>
          <pc:sldMk cId="506634367" sldId="1400"/>
        </pc:sldMkLst>
      </pc:sldChg>
      <pc:sldChg chg="addSp delSp modSp add mod">
        <pc:chgData name="Fässler, Oliver (JPKA 2)" userId="9a89f36f-748e-4f00-b20c-72cbec80bd4a" providerId="ADAL" clId="{5D27AC94-005D-4961-AEA9-9EC7019818D4}" dt="2025-06-18T18:15:49.706" v="2725"/>
        <pc:sldMkLst>
          <pc:docMk/>
          <pc:sldMk cId="872325937" sldId="1400"/>
        </pc:sldMkLst>
        <pc:graphicFrameChg chg="add mod">
          <ac:chgData name="Fässler, Oliver (JPKA 2)" userId="9a89f36f-748e-4f00-b20c-72cbec80bd4a" providerId="ADAL" clId="{5D27AC94-005D-4961-AEA9-9EC7019818D4}" dt="2025-06-18T18:15:49.706" v="2725"/>
          <ac:graphicFrameMkLst>
            <pc:docMk/>
            <pc:sldMk cId="872325937" sldId="1400"/>
            <ac:graphicFrameMk id="7" creationId="{05FF19CE-3C4E-E1B7-79B7-C6F501449991}"/>
          </ac:graphicFrameMkLst>
        </pc:graphicFrameChg>
      </pc:sldChg>
      <pc:sldChg chg="new del">
        <pc:chgData name="Fässler, Oliver (JPKA 2)" userId="9a89f36f-748e-4f00-b20c-72cbec80bd4a" providerId="ADAL" clId="{5D27AC94-005D-4961-AEA9-9EC7019818D4}" dt="2024-10-04T12:46:01.285" v="6" actId="47"/>
        <pc:sldMkLst>
          <pc:docMk/>
          <pc:sldMk cId="1389030280" sldId="1400"/>
        </pc:sldMkLst>
      </pc:sldChg>
      <pc:sldChg chg="addSp delSp modSp new mod">
        <pc:chgData name="Fässler, Oliver (JPKA 2)" userId="9a89f36f-748e-4f00-b20c-72cbec80bd4a" providerId="ADAL" clId="{5D27AC94-005D-4961-AEA9-9EC7019818D4}" dt="2025-06-18T18:15:31.776" v="2713"/>
        <pc:sldMkLst>
          <pc:docMk/>
          <pc:sldMk cId="3869290020" sldId="1401"/>
        </pc:sldMkLst>
        <pc:graphicFrameChg chg="add mod">
          <ac:chgData name="Fässler, Oliver (JPKA 2)" userId="9a89f36f-748e-4f00-b20c-72cbec80bd4a" providerId="ADAL" clId="{5D27AC94-005D-4961-AEA9-9EC7019818D4}" dt="2025-06-18T18:15:31.039" v="2712"/>
          <ac:graphicFrameMkLst>
            <pc:docMk/>
            <pc:sldMk cId="3869290020" sldId="1401"/>
            <ac:graphicFrameMk id="8" creationId="{C66838F3-16EF-C749-7ABD-BC88B3614561}"/>
          </ac:graphicFrameMkLst>
        </pc:graphicFrameChg>
        <pc:graphicFrameChg chg="add mod">
          <ac:chgData name="Fässler, Oliver (JPKA 2)" userId="9a89f36f-748e-4f00-b20c-72cbec80bd4a" providerId="ADAL" clId="{5D27AC94-005D-4961-AEA9-9EC7019818D4}" dt="2025-06-18T18:15:31.776" v="2713"/>
          <ac:graphicFrameMkLst>
            <pc:docMk/>
            <pc:sldMk cId="3869290020" sldId="1401"/>
            <ac:graphicFrameMk id="9" creationId="{AE7FA380-B4DB-EBEF-9695-90E484A65C1A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062C8-3AC5-48FE-9B31-796C7BEC3BCB}" type="datetimeFigureOut">
              <a:rPr lang="en-US" smtClean="0"/>
              <a:t>6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573E9C-C42F-42B4-8479-8AA36AF121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244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573E9C-C42F-42B4-8479-8AA36AF121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411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88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39900861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3695879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265256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9134818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95165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04979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19824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483421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00458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573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99060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16893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30853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19048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5717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7652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341294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011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165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674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8722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75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102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6058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322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5969673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94168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6023151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4604299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13882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3248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33898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9330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192868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53739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109776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77338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9655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8139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2253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837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1325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419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5930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577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7249422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660502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00525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0811464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6783315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419365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016012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5127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49855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34509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9334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02303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5543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7716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035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9294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836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584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0274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3243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669882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9121489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3630520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1791585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808788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4372693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65448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99562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997772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4882235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8953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986756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7827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1378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0872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8703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7607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735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1689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3325688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0140473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901378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770448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4">
            <a:extLst>
              <a:ext uri="{FF2B5EF4-FFF2-40B4-BE49-F238E27FC236}">
                <a16:creationId xmlns:a16="http://schemas.microsoft.com/office/drawing/2014/main" id="{23B4FBD9-D2EF-4357-87E1-AE33A1492F15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432048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824536 h 5868000"/>
              <a:gd name="connsiteX3" fmla="*/ 6516724 w 8712000"/>
              <a:gd name="connsiteY3" fmla="*/ 4824536 h 5868000"/>
              <a:gd name="connsiteX4" fmla="*/ 6516724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1795439 h 5868000"/>
              <a:gd name="connsiteX7" fmla="*/ 432048 w 8712000"/>
              <a:gd name="connsiteY7" fmla="*/ 1795439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432048" y="0"/>
                </a:moveTo>
                <a:lnTo>
                  <a:pt x="8712000" y="0"/>
                </a:lnTo>
                <a:lnTo>
                  <a:pt x="8712000" y="4824536"/>
                </a:lnTo>
                <a:lnTo>
                  <a:pt x="6516724" y="4824536"/>
                </a:lnTo>
                <a:lnTo>
                  <a:pt x="6516724" y="5868000"/>
                </a:lnTo>
                <a:lnTo>
                  <a:pt x="0" y="5868000"/>
                </a:lnTo>
                <a:lnTo>
                  <a:pt x="0" y="1795439"/>
                </a:lnTo>
                <a:lnTo>
                  <a:pt x="432048" y="1795439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1736812"/>
            <a:ext cx="6840000" cy="360099"/>
          </a:xfrm>
        </p:spPr>
        <p:txBody>
          <a:bodyPr vert="horz" anchor="t"/>
          <a:lstStyle>
            <a:lvl1pPr>
              <a:defRPr sz="2600"/>
            </a:lvl1pPr>
          </a:lstStyle>
          <a:p>
            <a:r>
              <a:rPr lang="en-US" noProof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5188333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1990184-F1DF-4C7B-A5B2-CCEBC101E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95B0F28-BA9F-4CB5-88D0-94FD149AA0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3E75B16-C59A-4DB2-9C1D-DA7599F80D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8712000" cy="464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288159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F38E2B6-7644-4F0C-8305-F14C8FD7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32A1F76-24E6-4836-86FF-E39EC472CF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E852FB8-4E1B-46B6-89AA-3FE524035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0012" y="1448780"/>
            <a:ext cx="4248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3358234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29E1A3-AF07-4C7D-84E1-17F8C9ED7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24C227-0D3B-41E2-8490-A021E6DA72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7808CA1-1186-4B56-8969-576F07DB85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1448780"/>
            <a:ext cx="2772000" cy="4644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25235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15516" y="1304764"/>
            <a:ext cx="8712000" cy="4788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45D926-7865-4917-8960-3ACF3CAB92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66399766-D2F4-4E6D-A2B7-EF7D9D7C1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9808948-2832-41BA-9680-40191DAA9CE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4248000" cy="4644000"/>
          </a:xfrm>
        </p:spPr>
        <p:txBody>
          <a:bodyPr lIns="216000" rIns="108000" bIns="21600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4546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75E6DC5-BDCC-450B-B76F-34A5A6047D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62587DC-DFC9-4862-B49B-06E12896DE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7A5DE667-969D-4674-BCB7-E81B36CF79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260"/>
            <a:ext cx="4248000" cy="4644000"/>
          </a:xfrm>
        </p:spPr>
        <p:txBody>
          <a:bodyPr lIns="0" rIns="10800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572000" y="1304764"/>
            <a:ext cx="4356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591513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07585A-3CF3-4F70-A330-F260177F3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B8FFC63-47CB-4E98-9D58-1F601275E0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1" name="Slide Number Placeholder 30">
            <a:extLst>
              <a:ext uri="{FF2B5EF4-FFF2-40B4-BE49-F238E27FC236}">
                <a16:creationId xmlns:a16="http://schemas.microsoft.com/office/drawing/2014/main" id="{6C391CB6-CB07-47FD-A0D6-44C1B7683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48780"/>
            <a:ext cx="2772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1448780"/>
            <a:ext cx="2736000" cy="4644000"/>
          </a:xfrm>
        </p:spPr>
        <p:txBody>
          <a:bodyPr lIns="0" rIns="0" bIns="0"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56176" y="1304764"/>
            <a:ext cx="2772000" cy="47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91981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82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5B7D1B-A3B0-4FFF-A637-80DCBACFA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C6671FD-8C01-4524-B045-36191C8CDC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246DF6-8D8B-4BCC-BD75-9141F229FB1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3848" y="3573016"/>
            <a:ext cx="2736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56176" y="3573016"/>
            <a:ext cx="2772000" cy="2520000"/>
          </a:xfrm>
        </p:spPr>
        <p:txBody>
          <a:bodyPr/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03848" y="1304764"/>
            <a:ext cx="273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56176" y="1304764"/>
            <a:ext cx="2772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0633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8">
          <p15:clr>
            <a:srgbClr val="FBAE40"/>
          </p15:clr>
        </p15:guide>
        <p15:guide id="2" pos="1882">
          <p15:clr>
            <a:srgbClr val="FBAE40"/>
          </p15:clr>
        </p15:guide>
        <p15:guide id="3" pos="3742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7671375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1F54E4-B465-4AF2-8EB5-E3328BF2F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D6CB37D-F6B1-4C3B-8786-6EE8CA7944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24D66E7-46C8-4DC5-9B4E-8EA53CE4A9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7366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517472E0-274A-4F7F-8122-10F757C129E9}"/>
              </a:ext>
            </a:extLst>
          </p:cNvPr>
          <p:cNvSpPr>
            <a:spLocks noChangeAspect="1"/>
          </p:cNvSpPr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24" name="Graphic 3">
            <a:extLst>
              <a:ext uri="{FF2B5EF4-FFF2-40B4-BE49-F238E27FC236}">
                <a16:creationId xmlns:a16="http://schemas.microsoft.com/office/drawing/2014/main" id="{98011643-CBD1-483A-8FA2-FD3A99A4D5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845564" y="976748"/>
            <a:ext cx="5579356" cy="391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0168"/>
            <a:ext cx="5688000" cy="444737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DC818FC-E3E1-45AA-ACFA-85EAC2BE6B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B84CF56-3AC3-4C68-BA38-3F6F2409CE5C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3923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D197ED49-D267-4B6D-916F-3D05F5F8FAD6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499B0A3C-2972-46AF-8532-23FF8BFCE7F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EAE89632-66FC-4DB5-B805-E09152B277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F7D9526-2868-42F4-8E5A-B48B51DA7AC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4510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51295168-1622-4F07-94DC-D4BC256B19AF}"/>
              </a:ext>
            </a:extLst>
          </p:cNvPr>
          <p:cNvSpPr/>
          <p:nvPr/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350" noProof="0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C2EC741C-4CA5-42A0-BCAF-FB6B71B569D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716016" y="224644"/>
            <a:ext cx="4211500" cy="6414452"/>
          </a:xfrm>
          <a:custGeom>
            <a:avLst/>
            <a:gdLst>
              <a:gd name="connsiteX0" fmla="*/ 0 w 4211500"/>
              <a:gd name="connsiteY0" fmla="*/ 0 h 6414452"/>
              <a:gd name="connsiteX1" fmla="*/ 4211500 w 4211500"/>
              <a:gd name="connsiteY1" fmla="*/ 0 h 6414452"/>
              <a:gd name="connsiteX2" fmla="*/ 4211500 w 4211500"/>
              <a:gd name="connsiteY2" fmla="*/ 5544617 h 6414452"/>
              <a:gd name="connsiteX3" fmla="*/ 1446512 w 4211500"/>
              <a:gd name="connsiteY3" fmla="*/ 5544617 h 6414452"/>
              <a:gd name="connsiteX4" fmla="*/ 1446512 w 4211500"/>
              <a:gd name="connsiteY4" fmla="*/ 6414452 h 6414452"/>
              <a:gd name="connsiteX5" fmla="*/ 0 w 4211500"/>
              <a:gd name="connsiteY5" fmla="*/ 64144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11500" h="6414452">
                <a:moveTo>
                  <a:pt x="0" y="0"/>
                </a:moveTo>
                <a:lnTo>
                  <a:pt x="4211500" y="0"/>
                </a:lnTo>
                <a:lnTo>
                  <a:pt x="4211500" y="5544617"/>
                </a:lnTo>
                <a:lnTo>
                  <a:pt x="1446512" y="5544617"/>
                </a:lnTo>
                <a:lnTo>
                  <a:pt x="1446512" y="6414452"/>
                </a:lnTo>
                <a:lnTo>
                  <a:pt x="0" y="641445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1681971"/>
            <a:ext cx="3636000" cy="882934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4905"/>
            <a:ext cx="3636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8C71A8B-8B9B-445A-BEF9-72BBDC9D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55B41DE-2000-4EF6-A463-0291B086E58A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294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029195EE-51BA-49B0-B772-4AA61B3E70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noProof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96935F-4F08-4963-B4BE-2533AD5F6009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1043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F8ED8EDB-7E74-4D7F-A4B7-50E734102E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70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70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270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EA6F250F-DB7E-4ABE-938C-6E0711CE89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26622" y="440668"/>
            <a:ext cx="985838" cy="69175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D6312EB-3193-441A-A20F-2F06A88ADC48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430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DF2BA32-7135-40B3-A428-65D508FAD6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6414452"/>
          </a:xfrm>
          <a:custGeom>
            <a:avLst/>
            <a:gdLst>
              <a:gd name="connsiteX0" fmla="*/ 323008 w 8712000"/>
              <a:gd name="connsiteY0" fmla="*/ 0 h 6414452"/>
              <a:gd name="connsiteX1" fmla="*/ 8712000 w 8712000"/>
              <a:gd name="connsiteY1" fmla="*/ 0 h 6414452"/>
              <a:gd name="connsiteX2" fmla="*/ 8712000 w 8712000"/>
              <a:gd name="connsiteY2" fmla="*/ 5544617 h 6414452"/>
              <a:gd name="connsiteX3" fmla="*/ 5947012 w 8712000"/>
              <a:gd name="connsiteY3" fmla="*/ 5544617 h 6414452"/>
              <a:gd name="connsiteX4" fmla="*/ 5947012 w 8712000"/>
              <a:gd name="connsiteY4" fmla="*/ 6414452 h 6414452"/>
              <a:gd name="connsiteX5" fmla="*/ 0 w 8712000"/>
              <a:gd name="connsiteY5" fmla="*/ 6414452 h 6414452"/>
              <a:gd name="connsiteX6" fmla="*/ 0 w 8712000"/>
              <a:gd name="connsiteY6" fmla="*/ 2242852 h 6414452"/>
              <a:gd name="connsiteX7" fmla="*/ 323008 w 8712000"/>
              <a:gd name="connsiteY7" fmla="*/ 2242852 h 64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6414452">
                <a:moveTo>
                  <a:pt x="323008" y="0"/>
                </a:moveTo>
                <a:lnTo>
                  <a:pt x="8712000" y="0"/>
                </a:lnTo>
                <a:lnTo>
                  <a:pt x="8712000" y="5544617"/>
                </a:lnTo>
                <a:lnTo>
                  <a:pt x="5947012" y="5544617"/>
                </a:lnTo>
                <a:lnTo>
                  <a:pt x="5947012" y="6414452"/>
                </a:lnTo>
                <a:lnTo>
                  <a:pt x="0" y="6414452"/>
                </a:lnTo>
                <a:lnTo>
                  <a:pt x="0" y="2242852"/>
                </a:lnTo>
                <a:lnTo>
                  <a:pt x="323008" y="224285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latin typeface="+mn-lt"/>
              </a:defRPr>
            </a:lvl1pPr>
          </a:lstStyle>
          <a:p>
            <a:r>
              <a:rPr lang="en-US" sz="1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tle bespoke: add your own image with integrated key visual sails (see sample slides)</a:t>
            </a:r>
            <a:br>
              <a:rPr lang="en-US" sz="1100" kern="120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63588" y="2123437"/>
            <a:ext cx="5688000" cy="441468"/>
          </a:xfrm>
        </p:spPr>
        <p:txBody>
          <a:bodyPr vert="horz" anchor="b"/>
          <a:lstStyle>
            <a:lvl1pPr>
              <a:lnSpc>
                <a:spcPct val="85000"/>
              </a:lnSpc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3588" y="2568174"/>
            <a:ext cx="5688000" cy="392415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3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9552" y="4753599"/>
            <a:ext cx="3240000" cy="1015663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LEGAL ENTITY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Department or author</a:t>
            </a:r>
            <a:br>
              <a:rPr lang="en-US" noProof="0"/>
            </a:br>
            <a:r>
              <a:rPr lang="en-US" noProof="0"/>
              <a:t>Month Day, Year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Classification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F94C1EDE-925F-4757-B319-476F58D83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36512" y="-36004"/>
            <a:ext cx="0" cy="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9AE6F19-A243-4784-BBFC-D7A4850C04F3}"/>
              </a:ext>
            </a:extLst>
          </p:cNvPr>
          <p:cNvSpPr/>
          <p:nvPr userDrawn="1"/>
        </p:nvSpPr>
        <p:spPr>
          <a:xfrm>
            <a:off x="6537600" y="6128135"/>
            <a:ext cx="2232000" cy="29654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6321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5BA840F-0D9B-4CE1-844C-1B6F35B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15516" y="224644"/>
            <a:ext cx="8712000" cy="360099"/>
          </a:xfrm>
        </p:spPr>
        <p:txBody>
          <a:bodyPr/>
          <a:lstStyle/>
          <a:p>
            <a:r>
              <a:rPr lang="en-US" noProof="0"/>
              <a:t>Click to edit slide title (maximum two lines)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56B9182-0630-4F5B-A58F-05C5774AFA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A9C36FD-7D7C-4465-BD43-869ACDB27DD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5516" y="584743"/>
            <a:ext cx="871200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16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552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552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5516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552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9552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5516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39552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52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0012" y="1412776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04048" y="1562016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48" y="1798657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80012" y="2888940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004048" y="3038180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004048" y="3274821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12" y="4365104"/>
            <a:ext cx="176330" cy="369332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24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004048" y="4514344"/>
            <a:ext cx="3924000" cy="21544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004048" y="4750985"/>
            <a:ext cx="3924000" cy="184666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66630038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5">
            <a:extLst>
              <a:ext uri="{FF2B5EF4-FFF2-40B4-BE49-F238E27FC236}">
                <a16:creationId xmlns:a16="http://schemas.microsoft.com/office/drawing/2014/main" id="{35D17073-DD74-4B07-93BF-B38CD333686E}"/>
              </a:ext>
            </a:extLst>
          </p:cNvPr>
          <p:cNvSpPr/>
          <p:nvPr/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/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24727508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3249770-7B73-44E6-9403-6C6C810A272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5516" y="224644"/>
            <a:ext cx="8712000" cy="5868000"/>
          </a:xfrm>
          <a:custGeom>
            <a:avLst/>
            <a:gdLst>
              <a:gd name="connsiteX0" fmla="*/ 360040 w 8712000"/>
              <a:gd name="connsiteY0" fmla="*/ 0 h 5868000"/>
              <a:gd name="connsiteX1" fmla="*/ 8712000 w 8712000"/>
              <a:gd name="connsiteY1" fmla="*/ 0 h 5868000"/>
              <a:gd name="connsiteX2" fmla="*/ 8712000 w 8712000"/>
              <a:gd name="connsiteY2" fmla="*/ 4608512 h 5868000"/>
              <a:gd name="connsiteX3" fmla="*/ 7920880 w 8712000"/>
              <a:gd name="connsiteY3" fmla="*/ 4608512 h 5868000"/>
              <a:gd name="connsiteX4" fmla="*/ 7920880 w 8712000"/>
              <a:gd name="connsiteY4" fmla="*/ 5868000 h 5868000"/>
              <a:gd name="connsiteX5" fmla="*/ 0 w 8712000"/>
              <a:gd name="connsiteY5" fmla="*/ 5868000 h 5868000"/>
              <a:gd name="connsiteX6" fmla="*/ 0 w 8712000"/>
              <a:gd name="connsiteY6" fmla="*/ 2564674 h 5868000"/>
              <a:gd name="connsiteX7" fmla="*/ 360040 w 8712000"/>
              <a:gd name="connsiteY7" fmla="*/ 2564674 h 5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2000" h="5868000">
                <a:moveTo>
                  <a:pt x="360040" y="0"/>
                </a:moveTo>
                <a:lnTo>
                  <a:pt x="8712000" y="0"/>
                </a:lnTo>
                <a:lnTo>
                  <a:pt x="8712000" y="4608512"/>
                </a:lnTo>
                <a:lnTo>
                  <a:pt x="7920880" y="4608512"/>
                </a:lnTo>
                <a:lnTo>
                  <a:pt x="7920880" y="5868000"/>
                </a:lnTo>
                <a:lnTo>
                  <a:pt x="0" y="5868000"/>
                </a:lnTo>
                <a:lnTo>
                  <a:pt x="0" y="2564674"/>
                </a:lnTo>
                <a:lnTo>
                  <a:pt x="360040" y="2564674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432000" tIns="36000" rIns="72000" bIns="36000" anchor="t">
            <a:noAutofit/>
          </a:bodyPr>
          <a:lstStyle>
            <a:lvl1pPr>
              <a:spcBef>
                <a:spcPts val="0"/>
              </a:spcBef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99592" y="2467925"/>
            <a:ext cx="6840000" cy="415498"/>
          </a:xfrm>
        </p:spPr>
        <p:txBody>
          <a:bodyPr vert="horz" anchor="t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328089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939F2AA7-FD1A-45EC-9F6F-4C94DE35BF55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84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88" r:id="rId3"/>
    <p:sldLayoutId id="2147483789" r:id="rId4"/>
    <p:sldLayoutId id="2147483773" r:id="rId5"/>
    <p:sldLayoutId id="2147483772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506F164-EF5F-4434-A7BE-180CD6940E8E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AAF0EFD-09D8-4C6E-B0CE-7E486C5D1097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813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B69DB4B-5797-4159-BDB2-86145276C174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54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90AEE83-AED2-474F-8468-7009D3A889C9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40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5516" y="224644"/>
            <a:ext cx="871200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15516" y="1448780"/>
            <a:ext cx="8712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39895" y="6505745"/>
            <a:ext cx="633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5515" y="6505745"/>
            <a:ext cx="288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FF3D55D-A4E5-4BC5-8042-F09FE350FAB4}"/>
              </a:ext>
            </a:extLst>
          </p:cNvPr>
          <p:cNvSpPr/>
          <p:nvPr userDrawn="1"/>
        </p:nvSpPr>
        <p:spPr>
          <a:xfrm>
            <a:off x="7452100" y="6435742"/>
            <a:ext cx="1476000" cy="19761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6858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136">
          <p15:clr>
            <a:srgbClr val="F26B43"/>
          </p15:clr>
        </p15:guide>
        <p15:guide id="4" pos="5624">
          <p15:clr>
            <a:srgbClr val="F26B43"/>
          </p15:clr>
        </p15:guide>
        <p15:guide id="5" pos="2948">
          <p15:clr>
            <a:srgbClr val="F26B43"/>
          </p15:clr>
        </p15:guide>
        <p15:guide id="6" pos="28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oleObject" Target="../embeddings/oleObject17.bin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oleObject" Target="../embeddings/oleObject1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oleObject" Target="../embeddings/oleObject2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oleObject" Target="../embeddings/oleObject22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oleObject" Target="../embeddings/oleObject24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oleObject" Target="../embeddings/oleObject26.bin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7" Type="http://schemas.openxmlformats.org/officeDocument/2006/relationships/image" Target="../media/image35.emf"/><Relationship Id="rId2" Type="http://schemas.openxmlformats.org/officeDocument/2006/relationships/oleObject" Target="../embeddings/oleObject27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oleObject" Target="../embeddings/oleObject3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image" Target="../media/image38.emf"/><Relationship Id="rId7" Type="http://schemas.openxmlformats.org/officeDocument/2006/relationships/image" Target="../media/image40.emf"/><Relationship Id="rId2" Type="http://schemas.openxmlformats.org/officeDocument/2006/relationships/oleObject" Target="../embeddings/oleObject32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4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oleObject" Target="../embeddings/oleObject36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oleObject" Target="../embeddings/oleObject3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oleObject" Target="../embeddings/oleObject4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4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oleObject" Target="../embeddings/oleObject42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oleObject" Target="../embeddings/oleObject44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4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oleObject" Target="../embeddings/oleObject46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oleObject" Target="../embeddings/oleObject4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49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oleObject" Target="../embeddings/oleObject5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5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oleObject" Target="../embeddings/oleObject52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9.emf"/><Relationship Id="rId4" Type="http://schemas.openxmlformats.org/officeDocument/2006/relationships/oleObject" Target="../embeddings/oleObject5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oleObject" Target="../embeddings/oleObject54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1.emf"/><Relationship Id="rId4" Type="http://schemas.openxmlformats.org/officeDocument/2006/relationships/oleObject" Target="../embeddings/oleObject5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7" Type="http://schemas.openxmlformats.org/officeDocument/2006/relationships/image" Target="../media/image13.emf"/><Relationship Id="rId2" Type="http://schemas.openxmlformats.org/officeDocument/2006/relationships/oleObject" Target="../embeddings/oleObject5.bin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oleObject" Target="../embeddings/oleObject8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12.bin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oleObject" Target="../embeddings/oleObject13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oleObject" Target="../embeddings/oleObject15.bin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FDAB-67C0-477D-9EEA-4F13C5951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588" y="2120168"/>
            <a:ext cx="5688000" cy="444737"/>
          </a:xfrm>
        </p:spPr>
        <p:txBody>
          <a:bodyPr/>
          <a:lstStyle/>
          <a:p>
            <a:r>
              <a:rPr lang="de-DE"/>
              <a:t>TAA Group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B406FA-7618-429A-B8E0-7FF201F0BB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588" y="2564905"/>
            <a:ext cx="5688000" cy="392415"/>
          </a:xfrm>
        </p:spPr>
        <p:txBody>
          <a:bodyPr/>
          <a:lstStyle/>
          <a:p>
            <a:r>
              <a:rPr lang="en-US" err="1"/>
              <a:t>Chartpackage</a:t>
            </a:r>
            <a:r>
              <a:rPr lang="en-US"/>
              <a:t> </a:t>
            </a:r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Valu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171A31-F64B-4FDA-B75D-D7E690871B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PENSIONSKASSE DER CREDIT SUISSE GROUP (SCHWEIZ)</a:t>
            </a:r>
          </a:p>
          <a:p>
            <a:r>
              <a:rPr lang="de-CH"/>
              <a:t>Investment Management</a:t>
            </a:r>
          </a:p>
          <a:p>
            <a:r>
              <a:rPr lang="de-CH"/>
              <a:t>18.06.2025</a:t>
            </a:r>
          </a:p>
          <a:p>
            <a:endParaRPr lang="de-CH"/>
          </a:p>
          <a:p>
            <a:r>
              <a:rPr lang="de-CH" b="1"/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1889315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25633-1CB0-4F99-A8B9-7D3B3FB6F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7C0F3A-D7C1-4A38-A73F-30D02D27B2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94D83-B2A7-4231-8B90-89DD69C5EA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4C9E0-A847-43D3-91AA-AF7338F2A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Nominal </a:t>
            </a:r>
            <a:r>
              <a:rPr lang="de-CH" err="1"/>
              <a:t>Yields</a:t>
            </a:r>
            <a:r>
              <a:rPr lang="de-CH"/>
              <a:t>: Equity vs. Rates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5267C1-7ADD-4C84-96D5-28D5552B4AC6}"/>
              </a:ext>
            </a:extLst>
          </p:cNvPr>
          <p:cNvSpPr txBox="1"/>
          <p:nvPr/>
        </p:nvSpPr>
        <p:spPr>
          <a:xfrm>
            <a:off x="320400" y="6190902"/>
            <a:ext cx="2803653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eigene Berechnun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304004-F752-40A9-AC58-5386CD68C0A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 | Rate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3253E97-8A78-54D6-5EED-BE9B8A1C2EA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5890026"/>
              </p:ext>
            </p:extLst>
          </p:nvPr>
        </p:nvGraphicFramePr>
        <p:xfrm>
          <a:off x="209550" y="1625600"/>
          <a:ext cx="8731250" cy="3617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7616592" imgH="3157400" progId="Mbnd.mbnd">
                  <p:embed/>
                </p:oleObj>
              </mc:Choice>
              <mc:Fallback>
                <p:oleObj name="Macrobond document" r:id="rId2" imgW="7616592" imgH="3157400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3253E97-8A78-54D6-5EED-BE9B8A1C2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09550" y="1625600"/>
                        <a:ext cx="8731250" cy="36179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54772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25633-1CB0-4F99-A8B9-7D3B3FB6F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7C0F3A-D7C1-4A38-A73F-30D02D27B2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94D83-B2A7-4231-8B90-89DD69C5EA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4C9E0-A847-43D3-91AA-AF7338F2A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Rates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5267C1-7ADD-4C84-96D5-28D5552B4AC6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304004-F752-40A9-AC58-5386CD68C0A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14F20BC5-7969-E91A-1E4A-735E493789B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2191510"/>
              </p:ext>
            </p:extLst>
          </p:nvPr>
        </p:nvGraphicFramePr>
        <p:xfrm>
          <a:off x="141288" y="1409700"/>
          <a:ext cx="4316412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14F20BC5-7969-E91A-1E4A-735E49378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409700"/>
                        <a:ext cx="4316412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22454D95-C34B-AC80-073F-0C325C6BC5C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3243555"/>
              </p:ext>
            </p:extLst>
          </p:nvPr>
        </p:nvGraphicFramePr>
        <p:xfrm>
          <a:off x="4686300" y="1409700"/>
          <a:ext cx="4321175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22454D95-C34B-AC80-073F-0C325C6BC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409700"/>
                        <a:ext cx="4321175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18005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25633-1CB0-4F99-A8B9-7D3B3FB6F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7C0F3A-D7C1-4A38-A73F-30D02D27B2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94D83-B2A7-4231-8B90-89DD69C5EA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4C9E0-A847-43D3-91AA-AF7338F2A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Rates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5267C1-7ADD-4C84-96D5-28D5552B4AC6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304004-F752-40A9-AC58-5386CD68C0A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F7778346-065D-F055-41F5-F663589E2B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2130389"/>
              </p:ext>
            </p:extLst>
          </p:nvPr>
        </p:nvGraphicFramePr>
        <p:xfrm>
          <a:off x="142875" y="1409700"/>
          <a:ext cx="4316413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F7778346-065D-F055-41F5-F663589E2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875" y="1409700"/>
                        <a:ext cx="4316413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B07856AC-2255-C566-E079-5EF147D3E24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0743986"/>
              </p:ext>
            </p:extLst>
          </p:nvPr>
        </p:nvGraphicFramePr>
        <p:xfrm>
          <a:off x="4687888" y="1409700"/>
          <a:ext cx="4311650" cy="432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6331268" imgH="6343281" progId="Mbnd.mbnd">
                  <p:embed/>
                </p:oleObj>
              </mc:Choice>
              <mc:Fallback>
                <p:oleObj name="Macrobond document" r:id="rId4" imgW="6331268" imgH="6343281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B07856AC-2255-C566-E079-5EF147D3E2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7888" y="1409700"/>
                        <a:ext cx="4311650" cy="43291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77923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60E46B86-993F-408E-5706-5B567F2E7EF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4347133"/>
              </p:ext>
            </p:extLst>
          </p:nvPr>
        </p:nvGraphicFramePr>
        <p:xfrm>
          <a:off x="219075" y="3267075"/>
          <a:ext cx="7426325" cy="2862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7426240" imgH="2861777" progId="Mbnd.mbnd">
                  <p:embed/>
                </p:oleObj>
              </mc:Choice>
              <mc:Fallback>
                <p:oleObj name="Macrobond document" r:id="rId2" imgW="7426240" imgH="2861777" progId="Mbnd.mbnd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60E46B86-993F-408E-5706-5B567F2E7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9075" y="3267075"/>
                        <a:ext cx="7426325" cy="28622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525633-1CB0-4F99-A8B9-7D3B3FB6F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7C0F3A-D7C1-4A38-A73F-30D02D27B2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94D83-B2A7-4231-8B90-89DD69C5EA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4C9E0-A847-43D3-91AA-AF7338F2A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Rates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5267C1-7ADD-4C84-96D5-28D5552B4AC6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304004-F752-40A9-AC58-5386CD68C0A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5C37931E-F19C-5F35-EF7D-E2591E9744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8654268"/>
              </p:ext>
            </p:extLst>
          </p:nvPr>
        </p:nvGraphicFramePr>
        <p:xfrm>
          <a:off x="220663" y="1017588"/>
          <a:ext cx="5397500" cy="2374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398220" imgH="2375441" progId="Mbnd.mbnd">
                  <p:embed/>
                </p:oleObj>
              </mc:Choice>
              <mc:Fallback>
                <p:oleObj name="Macrobond document" r:id="rId4" imgW="5398220" imgH="2375441" progId="Mbnd.mbnd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5C37931E-F19C-5F35-EF7D-E2591E974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663" y="1017588"/>
                        <a:ext cx="5397500" cy="2374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2955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F532A-30B5-460A-AD1A-A3CD480D4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50CA1A-8861-4E14-A792-1ECD59618A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BC1286-954B-43EC-BDF2-F4FC1EA0DA1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0EA25C-6865-497E-9961-3288ADCD50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Roll </a:t>
            </a:r>
            <a:r>
              <a:rPr lang="de-CH" err="1"/>
              <a:t>Yield</a:t>
            </a:r>
            <a:r>
              <a:rPr lang="de-CH"/>
              <a:t> and Hedging Cost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0E907D-6A51-4342-ACB9-447C1E1DC7BA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E657C524-9BD1-BCEB-5CBF-BBF79803BC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6289821"/>
              </p:ext>
            </p:extLst>
          </p:nvPr>
        </p:nvGraphicFramePr>
        <p:xfrm>
          <a:off x="134938" y="1382713"/>
          <a:ext cx="4316412" cy="4325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E657C524-9BD1-BCEB-5CBF-BBF79803B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4938" y="1382713"/>
                        <a:ext cx="4316412" cy="4325937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E8F696F-909A-2D3E-0E47-15302DA3E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2456313"/>
              </p:ext>
            </p:extLst>
          </p:nvPr>
        </p:nvGraphicFramePr>
        <p:xfrm>
          <a:off x="4692650" y="1382713"/>
          <a:ext cx="4321175" cy="4325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9E8F696F-909A-2D3E-0E47-15302DA3E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92650" y="1382713"/>
                        <a:ext cx="4321175" cy="4325937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547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F532A-30B5-460A-AD1A-A3CD480D4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50CA1A-8861-4E14-A792-1ECD59618A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BC1286-954B-43EC-BDF2-F4FC1EA0DA1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0EA25C-6865-497E-9961-3288ADCD50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US Term Permia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0E907D-6A51-4342-ACB9-447C1E1DC7BA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05FF19CE-3C4E-E1B7-79B7-C6F50144999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79673292"/>
              </p:ext>
            </p:extLst>
          </p:nvPr>
        </p:nvGraphicFramePr>
        <p:xfrm>
          <a:off x="1130300" y="1446213"/>
          <a:ext cx="6880225" cy="4597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568711" imgH="5723194" progId="Mbnd.mbnd">
                  <p:embed/>
                </p:oleObj>
              </mc:Choice>
              <mc:Fallback>
                <p:oleObj name="Macrobond document" r:id="rId2" imgW="8568711" imgH="5723194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05FF19CE-3C4E-E1B7-79B7-C6F5014499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30300" y="1446213"/>
                        <a:ext cx="6880225" cy="459740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2325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1003E-0E2C-436F-BC8E-6A9B043A94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C5B996-895D-4475-ADDC-06EBDE37B89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CE048-7BCC-4DB2-82C9-F9D810FCFB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F2FA56-A6E6-4650-9B1F-0CEFAB98C2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Real Rate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5004EE-561D-495C-8802-364D9AE01950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E3ED94DE-37A9-493D-3D7B-8408AE27060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82264"/>
              </p:ext>
            </p:extLst>
          </p:nvPr>
        </p:nvGraphicFramePr>
        <p:xfrm>
          <a:off x="142875" y="1473200"/>
          <a:ext cx="4316413" cy="432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E3ED94DE-37A9-493D-3D7B-8408AE270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875" y="1473200"/>
                        <a:ext cx="4316413" cy="43291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FE7FCB0B-0FD7-791C-B097-7CB876AD14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8185852"/>
              </p:ext>
            </p:extLst>
          </p:nvPr>
        </p:nvGraphicFramePr>
        <p:xfrm>
          <a:off x="4686300" y="1590675"/>
          <a:ext cx="4313238" cy="6457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4312962" imgH="6457925" progId="Mbnd.mbnd">
                  <p:embed/>
                </p:oleObj>
              </mc:Choice>
              <mc:Fallback>
                <p:oleObj name="Macrobond document" r:id="rId4" imgW="4312962" imgH="6457925" progId="Mbnd.mbnd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FE7FCB0B-0FD7-791C-B097-7CB876AD1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590675"/>
                        <a:ext cx="4313238" cy="64579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5B64667F-1D99-0965-4641-6B836C71CA8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4425406"/>
              </p:ext>
            </p:extLst>
          </p:nvPr>
        </p:nvGraphicFramePr>
        <p:xfrm>
          <a:off x="4684713" y="1474788"/>
          <a:ext cx="4318000" cy="195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4318000" imgH="1955439" progId="Mbnd.mbnd">
                  <p:embed/>
                </p:oleObj>
              </mc:Choice>
              <mc:Fallback>
                <p:oleObj name="Macrobond document" r:id="rId6" imgW="4318000" imgH="1955439" progId="Mbnd.mbnd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5B64667F-1D99-0965-4641-6B836C71CA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84713" y="1474788"/>
                        <a:ext cx="4318000" cy="195580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3">
            <a:extLst>
              <a:ext uri="{FF2B5EF4-FFF2-40B4-BE49-F238E27FC236}">
                <a16:creationId xmlns:a16="http://schemas.microsoft.com/office/drawing/2014/main" id="{F3047765-D482-9026-910B-F2D6A72F8E9C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3454923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5744EC-5A21-01CA-EF66-A41118F53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89759-8172-71E1-3C8C-2ED8C81B6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47CF6F-DCC5-B447-34CA-E1FDF062DB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38EC7-C3B3-8AD6-8936-23DB7CE5ED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49C469-D50C-E0C0-04C9-0A6B4AD29D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EM Rate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743E98-DF05-4C3F-415B-85A659BB6EE2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Rates</a:t>
            </a:r>
          </a:p>
        </p:txBody>
      </p:sp>
      <p:sp>
        <p:nvSpPr>
          <p:cNvPr id="17" name="TextBox 13">
            <a:extLst>
              <a:ext uri="{FF2B5EF4-FFF2-40B4-BE49-F238E27FC236}">
                <a16:creationId xmlns:a16="http://schemas.microsoft.com/office/drawing/2014/main" id="{AEA83241-B3F0-428D-DABD-E6C7C3563075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B431E0EB-A8C1-A7D8-6F66-9451AD1A2F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8702429"/>
              </p:ext>
            </p:extLst>
          </p:nvPr>
        </p:nvGraphicFramePr>
        <p:xfrm>
          <a:off x="142875" y="1470025"/>
          <a:ext cx="4319588" cy="432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B431E0EB-A8C1-A7D8-6F66-9451AD1A2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875" y="1470025"/>
                        <a:ext cx="4319588" cy="43291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E3A28F99-9DFA-0DD6-E52C-E1CB8FE5F68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2230573"/>
              </p:ext>
            </p:extLst>
          </p:nvPr>
        </p:nvGraphicFramePr>
        <p:xfrm>
          <a:off x="4683125" y="1470025"/>
          <a:ext cx="4322763" cy="432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E3A28F99-9DFA-0DD6-E52C-E1CB8FE5F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3125" y="1470025"/>
                        <a:ext cx="4322763" cy="43291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49302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54CE3-09D9-43D7-A52C-D0DED80A6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F97AF1-EFBA-479B-B633-06B5A140D26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5829BA-398C-4DA6-B99A-46E3F53738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400F3-DDC1-43A9-9245-9ECC11277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 Sprea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A2C9EA-3429-4B8A-BF1A-77118265720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1148A60-ED46-5415-3BE7-44BABE2D72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39575575"/>
              </p:ext>
            </p:extLst>
          </p:nvPr>
        </p:nvGraphicFramePr>
        <p:xfrm>
          <a:off x="215900" y="1109663"/>
          <a:ext cx="4892675" cy="4959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8092652" imgH="8289347" progId="Mbnd.mbnd">
                  <p:embed/>
                </p:oleObj>
              </mc:Choice>
              <mc:Fallback>
                <p:oleObj name="Macrobond document" r:id="rId2" imgW="8092652" imgH="8289347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1148A60-ED46-5415-3BE7-44BABE2D7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5900" y="1109663"/>
                        <a:ext cx="4892675" cy="49593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30E798E9-07AE-8ED4-7FA7-D757C316FD2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2243310"/>
              </p:ext>
            </p:extLst>
          </p:nvPr>
        </p:nvGraphicFramePr>
        <p:xfrm>
          <a:off x="5478463" y="1117600"/>
          <a:ext cx="3451225" cy="1573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2604369" progId="Mbnd.mbnd">
                  <p:embed/>
                </p:oleObj>
              </mc:Choice>
              <mc:Fallback>
                <p:oleObj name="Macrobond document" r:id="rId4" imgW="5712354" imgH="2604369" progId="Mbnd.mbnd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30E798E9-07AE-8ED4-7FA7-D757C316F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478463" y="1117600"/>
                        <a:ext cx="3451225" cy="15732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1326DED4-2FA3-630A-8373-53CA006233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5231072"/>
              </p:ext>
            </p:extLst>
          </p:nvPr>
        </p:nvGraphicFramePr>
        <p:xfrm>
          <a:off x="5478463" y="2809875"/>
          <a:ext cx="3451225" cy="1573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5712354" imgH="2604369" progId="Mbnd.mbnd">
                  <p:embed/>
                </p:oleObj>
              </mc:Choice>
              <mc:Fallback>
                <p:oleObj name="Macrobond document" r:id="rId6" imgW="5712354" imgH="2604369" progId="Mbnd.mbnd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1326DED4-2FA3-630A-8373-53CA00623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478463" y="2809875"/>
                        <a:ext cx="3451225" cy="15732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53F5A09C-DEED-ACA6-052B-772E4A19B4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0556992"/>
              </p:ext>
            </p:extLst>
          </p:nvPr>
        </p:nvGraphicFramePr>
        <p:xfrm>
          <a:off x="5478463" y="4498975"/>
          <a:ext cx="3451225" cy="1573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8" imgW="5712354" imgH="2604369" progId="Mbnd.mbnd">
                  <p:embed/>
                </p:oleObj>
              </mc:Choice>
              <mc:Fallback>
                <p:oleObj name="Macrobond document" r:id="rId8" imgW="5712354" imgH="2604369" progId="Mbnd.mbnd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53F5A09C-DEED-ACA6-052B-772E4A19B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478463" y="4498975"/>
                        <a:ext cx="3451225" cy="1573213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3">
            <a:extLst>
              <a:ext uri="{FF2B5EF4-FFF2-40B4-BE49-F238E27FC236}">
                <a16:creationId xmlns:a16="http://schemas.microsoft.com/office/drawing/2014/main" id="{87F037BB-A3BD-408D-EA70-BBC9855D56FF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7892000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BA9BF-3B00-44B9-9DB2-D01F99D82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671668-160B-4B97-9B7A-518E1E88CB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0A0B2-6990-47E6-B04E-DA7E998AA5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4561FE-FF83-43B6-BF10-6CCFE04A4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 Sprea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DDB970-5F40-4C8A-8084-DC05531A265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E7E73CA4-9EDE-48A5-9892-076490A61D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879283"/>
              </p:ext>
            </p:extLst>
          </p:nvPr>
        </p:nvGraphicFramePr>
        <p:xfrm>
          <a:off x="152400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E7E73CA4-9EDE-48A5-9892-076490A61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2400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BEFD17A6-0975-9192-327D-3C485018D6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4504838"/>
              </p:ext>
            </p:extLst>
          </p:nvPr>
        </p:nvGraphicFramePr>
        <p:xfrm>
          <a:off x="4675188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BEFD17A6-0975-9192-327D-3C485018D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75188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13">
            <a:extLst>
              <a:ext uri="{FF2B5EF4-FFF2-40B4-BE49-F238E27FC236}">
                <a16:creationId xmlns:a16="http://schemas.microsoft.com/office/drawing/2014/main" id="{68EBD5EA-63C6-2B59-FAEA-16F2F94372B4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3597531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25633-1CB0-4F99-A8B9-7D3B3FB6F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7C0F3A-D7C1-4A38-A73F-30D02D27B2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94D83-B2A7-4231-8B90-89DD69C5EA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4C9E0-A847-43D3-91AA-AF7338F2A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Equity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5267C1-7ADD-4C84-96D5-28D5552B4AC6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B47824-A1D3-4971-95D5-6F4DC4119954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69DBEC6F-8A14-E292-4137-BCAA0196DD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7759223"/>
              </p:ext>
            </p:extLst>
          </p:nvPr>
        </p:nvGraphicFramePr>
        <p:xfrm>
          <a:off x="1003300" y="1144588"/>
          <a:ext cx="7137400" cy="4983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7616592" imgH="5580429" progId="Mbnd.mbnd">
                  <p:embed/>
                </p:oleObj>
              </mc:Choice>
              <mc:Fallback>
                <p:oleObj name="Macrobond document" r:id="rId2" imgW="7616592" imgH="5580429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69DBEC6F-8A14-E292-4137-BCAA0196D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03300" y="1144588"/>
                        <a:ext cx="7137400" cy="498316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76806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BA9BF-3B00-44B9-9DB2-D01F99D82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671668-160B-4B97-9B7A-518E1E88CB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0A0B2-6990-47E6-B04E-DA7E998AA5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4561FE-FF83-43B6-BF10-6CCFE04A4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 Sprea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DDB970-5F40-4C8A-8084-DC05531A265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6167DBE-0A8F-0035-C28B-57C6CE5932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7470496"/>
              </p:ext>
            </p:extLst>
          </p:nvPr>
        </p:nvGraphicFramePr>
        <p:xfrm>
          <a:off x="1428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76167DBE-0A8F-0035-C28B-57C6CE593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8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95B09E54-5068-064B-8DA0-FBD21A0718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4977039"/>
              </p:ext>
            </p:extLst>
          </p:nvPr>
        </p:nvGraphicFramePr>
        <p:xfrm>
          <a:off x="46847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95B09E54-5068-064B-8DA0-FBD21A071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47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13">
            <a:extLst>
              <a:ext uri="{FF2B5EF4-FFF2-40B4-BE49-F238E27FC236}">
                <a16:creationId xmlns:a16="http://schemas.microsoft.com/office/drawing/2014/main" id="{C74DDC43-3F1A-0ECA-66ED-0E7188A9D305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28355900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BA9BF-3B00-44B9-9DB2-D01F99D82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671668-160B-4B97-9B7A-518E1E88CB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0A0B2-6990-47E6-B04E-DA7E998AA5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4561FE-FF83-43B6-BF10-6CCFE04A4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: High </a:t>
            </a:r>
            <a:r>
              <a:rPr lang="de-CH" err="1"/>
              <a:t>Yield</a:t>
            </a:r>
            <a:r>
              <a:rPr lang="de-CH"/>
              <a:t> vs. Investment Grad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DDB970-5F40-4C8A-8084-DC05531A265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493DE2AF-F1B8-F8F9-859A-AE924D60FEB7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A060316E-F44B-76DC-25EC-B77233BF26B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571752"/>
              </p:ext>
            </p:extLst>
          </p:nvPr>
        </p:nvGraphicFramePr>
        <p:xfrm>
          <a:off x="141288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A060316E-F44B-76DC-25EC-B77233BF2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9500A80C-F0B0-E47E-36C2-EC0291CC54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1585573"/>
              </p:ext>
            </p:extLst>
          </p:nvPr>
        </p:nvGraphicFramePr>
        <p:xfrm>
          <a:off x="4686300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9500A80C-F0B0-E47E-36C2-EC0291CC5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380383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31C212-F411-E3E4-BF96-DD2023993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002192-67D9-9D29-1611-A4351471D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10D539-F06A-EF84-1A88-B41EC01F7A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EC00D0-A459-D3F0-7BB4-2263259B7EF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2A327A-DBF5-8642-2A54-7318C954A4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: </a:t>
            </a:r>
            <a:r>
              <a:rPr lang="de-CH" err="1"/>
              <a:t>Bancruptcies</a:t>
            </a:r>
            <a:r>
              <a:rPr lang="de-CH"/>
              <a:t> and Sprea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2EBD65-76B9-F17C-0972-C33658B263A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522DC854-AF9E-0584-0478-763083A8916C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0C1F6D4-7F80-35FA-5B27-B60E0FAE74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3698478"/>
              </p:ext>
            </p:extLst>
          </p:nvPr>
        </p:nvGraphicFramePr>
        <p:xfrm>
          <a:off x="141288" y="1565275"/>
          <a:ext cx="4319587" cy="433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kt 5">
                        <a:extLst>
                          <a:ext uri="{FF2B5EF4-FFF2-40B4-BE49-F238E27FC236}">
                            <a16:creationId xmlns:a16="http://schemas.microsoft.com/office/drawing/2014/main" id="{40C1F6D4-7F80-35FA-5B27-B60E0FAE74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565275"/>
                        <a:ext cx="4319587" cy="43307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47F3091B-5D4C-4D2D-04CD-B44F344000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9696761"/>
              </p:ext>
            </p:extLst>
          </p:nvPr>
        </p:nvGraphicFramePr>
        <p:xfrm>
          <a:off x="4684713" y="1565275"/>
          <a:ext cx="4322762" cy="433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47F3091B-5D4C-4D2D-04CD-B44F34400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4713" y="1565275"/>
                        <a:ext cx="4322762" cy="43307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27522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573C5-8166-5698-D9EE-1ECEAA566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187AC-B859-EFB0-6AE4-B0620C785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1D2F13-7702-DB6A-CEA8-8F38330C62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04EB6F-D0D2-50CD-B845-A78707243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776132-3315-EE04-A536-4DEA64F23B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: CLO Sprea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E8677B-036B-8448-4BDE-03CC250E3F95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90890150-6C73-ADC8-197F-9C225FD5C9A8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6B8601FB-FE2C-E11B-D628-8AB520F170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0775253"/>
              </p:ext>
            </p:extLst>
          </p:nvPr>
        </p:nvGraphicFramePr>
        <p:xfrm>
          <a:off x="141288" y="1565275"/>
          <a:ext cx="4319587" cy="433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6B8601FB-FE2C-E11B-D628-8AB520F17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565275"/>
                        <a:ext cx="4319587" cy="43307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802C9FA-2C4D-1430-DB91-B60EE80F257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58078083"/>
              </p:ext>
            </p:extLst>
          </p:nvPr>
        </p:nvGraphicFramePr>
        <p:xfrm>
          <a:off x="4684713" y="1565275"/>
          <a:ext cx="4322762" cy="433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802C9FA-2C4D-1430-DB91-B60EE80F2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4713" y="1565275"/>
                        <a:ext cx="4322762" cy="43307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25519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BA9BF-3B00-44B9-9DB2-D01F99D82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671668-160B-4B97-9B7A-518E1E88CBF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0A0B2-6990-47E6-B04E-DA7E998AA5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4561FE-FF83-43B6-BF10-6CCFE04A4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edit</a:t>
            </a:r>
            <a:r>
              <a:rPr lang="de-CH"/>
              <a:t>: Relative </a:t>
            </a:r>
            <a:r>
              <a:rPr lang="de-CH" err="1"/>
              <a:t>to</a:t>
            </a:r>
            <a:r>
              <a:rPr lang="de-CH"/>
              <a:t> Risk and Equ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DDB970-5F40-4C8A-8084-DC05531A265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redit</a:t>
            </a:r>
            <a:endParaRPr lang="de-CH" sz="1400"/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072ECD41-58AA-2120-B1ED-A52C4868E41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9544040"/>
              </p:ext>
            </p:extLst>
          </p:nvPr>
        </p:nvGraphicFramePr>
        <p:xfrm>
          <a:off x="141288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072ECD41-58AA-2120-B1ED-A52C4868E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3">
            <a:extLst>
              <a:ext uri="{FF2B5EF4-FFF2-40B4-BE49-F238E27FC236}">
                <a16:creationId xmlns:a16="http://schemas.microsoft.com/office/drawing/2014/main" id="{493DE2AF-F1B8-F8F9-859A-AE924D60FEB7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AC7C94A5-2383-4913-2ABF-5F8A1304F8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9168651"/>
              </p:ext>
            </p:extLst>
          </p:nvPr>
        </p:nvGraphicFramePr>
        <p:xfrm>
          <a:off x="4686300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AC7C94A5-2383-4913-2ABF-5F8A1304F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82400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DB89F-0BBA-4D05-BD13-BB078AFE1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24AB4A-6DC8-4F2A-B60B-F0B7564E5B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2AFCF8-585F-4724-A621-45B28C1437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24832F-F2DE-4BB7-8620-D715A5CE5D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ommodity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D9FE5D-B655-44D8-BDD6-B241980A0B9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ommodity</a:t>
            </a:r>
            <a:endParaRPr lang="de-CH" sz="1400"/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92FF8241-951F-51FE-9CB5-7CBF29B76940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823E10F0-314F-408B-301E-02013567AA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2361966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823E10F0-314F-408B-301E-02013567A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4B41DEE8-10C9-9183-E5D7-33AABCD7F2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88337470"/>
              </p:ext>
            </p:extLst>
          </p:nvPr>
        </p:nvGraphicFramePr>
        <p:xfrm>
          <a:off x="47101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4B41DEE8-10C9-9183-E5D7-33AABCD7F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01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87640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DB89F-0BBA-4D05-BD13-BB078AFE1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24AB4A-6DC8-4F2A-B60B-F0B7564E5B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2AFCF8-585F-4724-A621-45B28C1437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24832F-F2DE-4BB7-8620-D715A5CE5D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ommodity</a:t>
            </a:r>
            <a:r>
              <a:rPr lang="de-CH"/>
              <a:t> </a:t>
            </a:r>
            <a:r>
              <a:rPr lang="de-CH" err="1"/>
              <a:t>Curve</a:t>
            </a:r>
            <a:endParaRPr lang="en-US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321F0ABF-77CA-4482-9DDF-9BA547915D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8326079"/>
              </p:ext>
            </p:extLst>
          </p:nvPr>
        </p:nvGraphicFramePr>
        <p:xfrm>
          <a:off x="47101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321F0ABF-77CA-4482-9DDF-9BA547915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7101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2D5F6689-5912-4D8B-B285-C50F0C54D0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2151853"/>
              </p:ext>
            </p:extLst>
          </p:nvPr>
        </p:nvGraphicFramePr>
        <p:xfrm>
          <a:off x="117475" y="1566863"/>
          <a:ext cx="4316413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2D5F6689-5912-4D8B-B285-C50F0C54D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475" y="1566863"/>
                        <a:ext cx="4316413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8D9FE5D-B655-44D8-BDD6-B241980A0B9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ommodity</a:t>
            </a:r>
            <a:endParaRPr lang="de-CH" sz="1400"/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92FF8241-951F-51FE-9CB5-7CBF29B76940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</p:spTree>
    <p:extLst>
      <p:ext uri="{BB962C8B-B14F-4D97-AF65-F5344CB8AC3E}">
        <p14:creationId xmlns:p14="http://schemas.microsoft.com/office/powerpoint/2010/main" val="39013760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DB89F-0BBA-4D05-BD13-BB078AFE1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24AB4A-6DC8-4F2A-B60B-F0B7564E5B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2AFCF8-585F-4724-A621-45B28C1437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24832F-F2DE-4BB7-8620-D715A5CE5D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Gold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D9FE5D-B655-44D8-BDD6-B241980A0B9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 err="1"/>
              <a:t>Commodity</a:t>
            </a:r>
            <a:endParaRPr lang="de-CH" sz="1400"/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92FF8241-951F-51FE-9CB5-7CBF29B76940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C3D512DC-669E-1B8F-01F7-83E16295E2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4961395"/>
              </p:ext>
            </p:extLst>
          </p:nvPr>
        </p:nvGraphicFramePr>
        <p:xfrm>
          <a:off x="109538" y="1566863"/>
          <a:ext cx="4316412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C3D512DC-669E-1B8F-01F7-83E16295E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9538" y="1566863"/>
                        <a:ext cx="4316412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C6D86738-21D7-3AF4-0F30-5EF29151B7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6390248"/>
              </p:ext>
            </p:extLst>
          </p:nvPr>
        </p:nvGraphicFramePr>
        <p:xfrm>
          <a:off x="471646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C6D86738-21D7-3AF4-0F30-5EF29151B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1646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50875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697735-1EF3-4F9D-93FE-30F789009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8FD84D-D7EA-4CB5-9BD0-E5CC1B7B899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737CA5-9243-434E-B1A8-96B75B6F3E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97697E-E24E-4666-9162-C1068B99A9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err="1"/>
              <a:t>Cryptocurrencies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E0064D-7A81-455E-AB6C-FD772FDF7E33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Crypto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49076FC9-4E64-8633-7BBE-10B30AEA46B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64624677"/>
              </p:ext>
            </p:extLst>
          </p:nvPr>
        </p:nvGraphicFramePr>
        <p:xfrm>
          <a:off x="4684713" y="1566863"/>
          <a:ext cx="4321175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49076FC9-4E64-8633-7BBE-10B30AEA4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684713" y="1566863"/>
                        <a:ext cx="4321175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3">
            <a:extLst>
              <a:ext uri="{FF2B5EF4-FFF2-40B4-BE49-F238E27FC236}">
                <a16:creationId xmlns:a16="http://schemas.microsoft.com/office/drawing/2014/main" id="{79BA7C4D-BDBA-827D-DA8C-971A80179703}"/>
              </a:ext>
            </a:extLst>
          </p:cNvPr>
          <p:cNvSpPr txBox="1"/>
          <p:nvPr/>
        </p:nvSpPr>
        <p:spPr>
          <a:xfrm>
            <a:off x="320400" y="6165850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C4771181-0B8F-18D1-628A-2CEA18C4DF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7511522"/>
              </p:ext>
            </p:extLst>
          </p:nvPr>
        </p:nvGraphicFramePr>
        <p:xfrm>
          <a:off x="138113" y="1566863"/>
          <a:ext cx="4319587" cy="432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C4771181-0B8F-18D1-628A-2CEA18C4DF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8113" y="1566863"/>
                        <a:ext cx="4319587" cy="4329112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9687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EBBC7-7D9F-C6D8-9588-D5CA728B0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D77A3B-BCE9-36B6-BEBD-A8349715B1E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65EBE-B767-DF35-83F0-295D029439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F45D21-8710-DA4B-4B0D-079A6E20EE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Equity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r>
              <a:rPr lang="de-CH"/>
              <a:t> and </a:t>
            </a:r>
            <a:r>
              <a:rPr lang="de-CH" err="1"/>
              <a:t>Yield</a:t>
            </a:r>
            <a:endParaRPr lang="de-CH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3550B0-555B-B522-CD66-D5077047BECE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1E94EB-C698-2F46-E6DB-16564F8A1E8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5AB94D5C-C261-8666-D594-63A47C447AA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4307980"/>
              </p:ext>
            </p:extLst>
          </p:nvPr>
        </p:nvGraphicFramePr>
        <p:xfrm>
          <a:off x="142875" y="1409700"/>
          <a:ext cx="4316413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5AB94D5C-C261-8666-D594-63A47C447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875" y="1409700"/>
                        <a:ext cx="4316413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D29BAE12-8DB8-C234-7D84-D7F62C984F4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6150141"/>
              </p:ext>
            </p:extLst>
          </p:nvPr>
        </p:nvGraphicFramePr>
        <p:xfrm>
          <a:off x="4683125" y="1409700"/>
          <a:ext cx="4322763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D29BAE12-8DB8-C234-7D84-D7F62C984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3125" y="1409700"/>
                        <a:ext cx="4322763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7603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D9FA1-CE67-4F18-BD41-A39DDBA42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482D97-33BA-4ECC-B434-36C614C96B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6251F-4672-49C1-8056-8AE1271275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F0DF1C-55F4-4476-A123-620BAF8871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Equity: </a:t>
            </a:r>
            <a:r>
              <a:rPr lang="de-CH" err="1"/>
              <a:t>Current</a:t>
            </a:r>
            <a:r>
              <a:rPr lang="de-CH"/>
              <a:t> vs. </a:t>
            </a:r>
            <a:r>
              <a:rPr lang="de-CH" err="1"/>
              <a:t>History</a:t>
            </a:r>
            <a:r>
              <a:rPr lang="de-CH"/>
              <a:t> (</a:t>
            </a:r>
            <a:r>
              <a:rPr lang="de-CH" err="1"/>
              <a:t>Sector</a:t>
            </a:r>
            <a:r>
              <a:rPr lang="de-CH"/>
              <a:t> View)</a:t>
            </a:r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1CC0EC-4073-43A1-9BAB-CE4FF3E4EDB9}"/>
              </a:ext>
            </a:extLst>
          </p:cNvPr>
          <p:cNvSpPr txBox="1"/>
          <p:nvPr/>
        </p:nvSpPr>
        <p:spPr>
          <a:xfrm>
            <a:off x="320400" y="6190902"/>
            <a:ext cx="1269578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endParaRPr lang="de-CH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0C7B45-4408-43C3-9DB8-25B5AB04E41D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C2927A55-E4AC-23AB-7980-2662329DBE9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615681"/>
              </p:ext>
            </p:extLst>
          </p:nvPr>
        </p:nvGraphicFramePr>
        <p:xfrm>
          <a:off x="215900" y="1308100"/>
          <a:ext cx="4284663" cy="4778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4284536" imgH="4779002" progId="Mbnd.mbnd">
                  <p:embed/>
                </p:oleObj>
              </mc:Choice>
              <mc:Fallback>
                <p:oleObj name="Macrobond document" r:id="rId2" imgW="4284536" imgH="4779002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C2927A55-E4AC-23AB-7980-2662329DB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5900" y="1308100"/>
                        <a:ext cx="4284663" cy="4778375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665BD66C-B61D-8D0F-DA2D-DB41AE002EF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5208474"/>
              </p:ext>
            </p:extLst>
          </p:nvPr>
        </p:nvGraphicFramePr>
        <p:xfrm>
          <a:off x="4641850" y="3648075"/>
          <a:ext cx="4284663" cy="2546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4284536" imgH="2547046" progId="Mbnd.mbnd">
                  <p:embed/>
                </p:oleObj>
              </mc:Choice>
              <mc:Fallback>
                <p:oleObj name="Macrobond document" r:id="rId4" imgW="4284536" imgH="2547046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665BD66C-B61D-8D0F-DA2D-DB41AE002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41850" y="3648075"/>
                        <a:ext cx="4284663" cy="25463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887E3E1-1407-3DE1-6633-0E060D95A67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887149"/>
              </p:ext>
            </p:extLst>
          </p:nvPr>
        </p:nvGraphicFramePr>
        <p:xfrm>
          <a:off x="4641850" y="1309688"/>
          <a:ext cx="4284663" cy="2268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6" imgW="4284536" imgH="2547046" progId="Mbnd.mbnd">
                  <p:embed/>
                </p:oleObj>
              </mc:Choice>
              <mc:Fallback>
                <p:oleObj name="Macrobond document" r:id="rId6" imgW="4284536" imgH="2547046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887E3E1-1407-3DE1-6633-0E060D95A6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41850" y="1309688"/>
                        <a:ext cx="4284663" cy="2268537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3430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8AAC0-F27E-4D69-8B21-30D0CB639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D7CCC3-496E-4604-A960-4C593EA7FC2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5D276F-9BB8-4AE1-B02C-D13AB66654B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286AFB-C135-4EE3-B5C5-13C705BA2E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Equity: Earnings and Total Retur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D0D143-927C-4A7F-9006-6663A9650299}"/>
              </a:ext>
            </a:extLst>
          </p:cNvPr>
          <p:cNvSpPr txBox="1"/>
          <p:nvPr/>
        </p:nvSpPr>
        <p:spPr>
          <a:xfrm>
            <a:off x="320400" y="6190902"/>
            <a:ext cx="1845057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</a:t>
            </a:r>
            <a:r>
              <a:rPr lang="de-CH" sz="1200" err="1"/>
              <a:t>Factset</a:t>
            </a:r>
            <a:endParaRPr lang="de-CH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E9B705-7B6E-4F85-B2DC-D270C1BA370C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5720CC35-6023-107B-F6BB-DA7CCB792A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4538067"/>
              </p:ext>
            </p:extLst>
          </p:nvPr>
        </p:nvGraphicFramePr>
        <p:xfrm>
          <a:off x="141288" y="1409700"/>
          <a:ext cx="4318000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5720CC35-6023-107B-F6BB-DA7CCB792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409700"/>
                        <a:ext cx="4318000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21F9B40A-85B1-4A64-6D01-8D5A7EE186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3975274"/>
              </p:ext>
            </p:extLst>
          </p:nvPr>
        </p:nvGraphicFramePr>
        <p:xfrm>
          <a:off x="4686300" y="1409700"/>
          <a:ext cx="4321175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21F9B40A-85B1-4A64-6D01-8D5A7EE18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6300" y="1409700"/>
                        <a:ext cx="4321175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6225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3F41A7-7484-ADDD-F62D-C98B8021B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3ED83-53D3-6996-68E1-0F2B21703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D33D3A-627B-6A97-08E8-180CD3D98AE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4588B2-EFBC-FC70-304F-8CB1315E2A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6015EF-C90D-8EEC-6A7B-456B29C374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Equity: Earnings Revisions vs. P/E Rati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2AA28B-3588-85C6-74CE-585A221EBAA9}"/>
              </a:ext>
            </a:extLst>
          </p:cNvPr>
          <p:cNvSpPr txBox="1"/>
          <p:nvPr/>
        </p:nvSpPr>
        <p:spPr>
          <a:xfrm>
            <a:off x="320400" y="6190902"/>
            <a:ext cx="1845057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</a:t>
            </a:r>
            <a:r>
              <a:rPr lang="de-CH" sz="1200" err="1"/>
              <a:t>Factset</a:t>
            </a:r>
            <a:endParaRPr lang="de-CH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AF1D11-5929-D139-72BB-C4F1527C9371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49370275-090B-6BCD-CFF4-8F32FA972E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1836347"/>
              </p:ext>
            </p:extLst>
          </p:nvPr>
        </p:nvGraphicFramePr>
        <p:xfrm>
          <a:off x="4684713" y="1409700"/>
          <a:ext cx="4322762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49370275-090B-6BCD-CFF4-8F32FA972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684713" y="1409700"/>
                        <a:ext cx="4322762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C7EF6E5C-18B2-325E-7639-D038A274C3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3297030"/>
              </p:ext>
            </p:extLst>
          </p:nvPr>
        </p:nvGraphicFramePr>
        <p:xfrm>
          <a:off x="141288" y="1409700"/>
          <a:ext cx="4319587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C7EF6E5C-18B2-325E-7639-D038A274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1288" y="1409700"/>
                        <a:ext cx="4319587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9288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A2755-4BA3-30B6-1116-7DDE99BC2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24087B-B8D2-6D75-4A78-76D76E1F739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1633F-EEBD-1C96-A6F7-3E31F0EBE7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F68918-138F-B1F1-B333-457E7E99EE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Equity: Relative Performances</a:t>
            </a:r>
            <a:endParaRPr lang="de-CH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72F93B2A-D82A-B90B-2780-B08A4381F4F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0019367"/>
              </p:ext>
            </p:extLst>
          </p:nvPr>
        </p:nvGraphicFramePr>
        <p:xfrm>
          <a:off x="219075" y="1247775"/>
          <a:ext cx="8707438" cy="436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595583" imgH="6810871" progId="Mbnd.mbnd">
                  <p:embed/>
                </p:oleObj>
              </mc:Choice>
              <mc:Fallback>
                <p:oleObj name="Macrobond document" r:id="rId2" imgW="13595583" imgH="6810871" progId="Mbnd.mbnd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72F93B2A-D82A-B90B-2780-B08A4381F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9075" y="1247775"/>
                        <a:ext cx="8707438" cy="43624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23876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7BD5C-17D2-42B8-27DB-1A0403526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ation</a:t>
            </a:r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0CB260-CA61-4C81-0667-2C3D769E57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97F71A-EA69-3A02-8CD4-BFCC4A3D21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6E44F9-A76C-DC00-4538-0F227271D7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516" y="584743"/>
            <a:ext cx="8712000" cy="369332"/>
          </a:xfrm>
        </p:spPr>
        <p:txBody>
          <a:bodyPr/>
          <a:lstStyle/>
          <a:p>
            <a:r>
              <a:rPr lang="en-US"/>
              <a:t>Equity: Relative Performances</a:t>
            </a:r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E6CF44-29BC-D356-5D26-6DF674F28E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C66838F3-16EF-C749-7ABD-BC88B361456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6825882"/>
              </p:ext>
            </p:extLst>
          </p:nvPr>
        </p:nvGraphicFramePr>
        <p:xfrm>
          <a:off x="160338" y="1446213"/>
          <a:ext cx="4302125" cy="431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C66838F3-16EF-C749-7ABD-BC88B3614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60338" y="1446213"/>
                        <a:ext cx="4302125" cy="43116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E7FA380-B4DB-EBEF-9695-90E484A65C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7094335"/>
              </p:ext>
            </p:extLst>
          </p:nvPr>
        </p:nvGraphicFramePr>
        <p:xfrm>
          <a:off x="4679950" y="1446213"/>
          <a:ext cx="4303713" cy="431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E7FA380-B4DB-EBEF-9695-90E484A65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79950" y="1446213"/>
                        <a:ext cx="4303713" cy="4311650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9290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660FF-F288-9AAA-D164-8223B58EC9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FA343-0474-66A8-337E-BE1A12991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Valuatio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1193DD-3981-7EFD-2F95-CCE9E0DB38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ENSIONSKASSE DER CREDIT SUISSE GROUP (SCHWEIZ), Investm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9BAE86-6AD0-CA66-A599-7E4AD04454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5774825-35DB-4612-9712-DA03DBF07B7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6AAC45-4AB6-A0A7-EDED-E497F3C4AC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/>
              <a:t>Nominal Yields after Hedging: Equity vs. Rates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47D9BA-E135-1563-A002-C350F51795A3}"/>
              </a:ext>
            </a:extLst>
          </p:cNvPr>
          <p:cNvSpPr txBox="1"/>
          <p:nvPr/>
        </p:nvSpPr>
        <p:spPr>
          <a:xfrm>
            <a:off x="320400" y="6190902"/>
            <a:ext cx="20823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de-CH" sz="1200"/>
              <a:t>Quelle: </a:t>
            </a:r>
            <a:r>
              <a:rPr lang="de-CH" sz="1200" err="1"/>
              <a:t>Macrobond</a:t>
            </a:r>
            <a:r>
              <a:rPr lang="de-CH" sz="1200"/>
              <a:t>, Bloomber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B115C3-7C1B-6F87-C800-D449D8A0D1A9}"/>
              </a:ext>
            </a:extLst>
          </p:cNvPr>
          <p:cNvSpPr/>
          <p:nvPr/>
        </p:nvSpPr>
        <p:spPr>
          <a:xfrm>
            <a:off x="7808621" y="0"/>
            <a:ext cx="1331495" cy="657296"/>
          </a:xfrm>
          <a:prstGeom prst="rect">
            <a:avLst/>
          </a:pr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spcBef>
                <a:spcPts val="500"/>
              </a:spcBef>
            </a:pPr>
            <a:r>
              <a:rPr lang="de-CH" sz="1400"/>
              <a:t>Equity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0813693-AE3C-69BD-1DE9-CDD8569949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0399316"/>
              </p:ext>
            </p:extLst>
          </p:nvPr>
        </p:nvGraphicFramePr>
        <p:xfrm>
          <a:off x="141288" y="1409700"/>
          <a:ext cx="4319587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712354" imgH="5723194" progId="Mbnd.mbnd">
                  <p:embed/>
                </p:oleObj>
              </mc:Choice>
              <mc:Fallback>
                <p:oleObj name="Macrobond document" r:id="rId2" imgW="5712354" imgH="5723194" progId="Mbnd.mbnd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70813693-AE3C-69BD-1DE9-CDD856994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1288" y="1409700"/>
                        <a:ext cx="4319587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72D94846-13B0-A626-2418-E74B8F449E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229540"/>
              </p:ext>
            </p:extLst>
          </p:nvPr>
        </p:nvGraphicFramePr>
        <p:xfrm>
          <a:off x="4684713" y="1409700"/>
          <a:ext cx="4321175" cy="432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712354" imgH="5723194" progId="Mbnd.mbnd">
                  <p:embed/>
                </p:oleObj>
              </mc:Choice>
              <mc:Fallback>
                <p:oleObj name="Macrobond document" r:id="rId4" imgW="5712354" imgH="5723194" progId="Mbnd.mbnd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72D94846-13B0-A626-2418-E74B8F449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84713" y="1409700"/>
                        <a:ext cx="4321175" cy="4325938"/>
                      </a:xfrm>
                      <a:prstGeom prst="rect">
                        <a:avLst/>
                      </a:prstGeom>
                      <a:ln>
                        <a:solidFill>
                          <a:schemeClr val="accent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3282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1DA35CFB-23BE-40E9-AC67-CA47CDB9AB50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24693EFA-7948-40D8-8108-3FB7EC5DE213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CE5D3C4D-3E1C-4E60-8FED-7A46A97AD978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D68B6B9C-572E-4706-9E6D-7F67E160FD62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B09F3EF3-750B-4109-AC07-FFA1C3B7428A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2" id="{3DEFE8BC-D8CF-4417-9AA2-0C9CD2CCF85B}" vid="{881FAA90-D635-4D27-B463-DF423CDF8C91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7A00FE02A9714785974896FDE531CF" ma:contentTypeVersion="8" ma:contentTypeDescription="Create a new document." ma:contentTypeScope="" ma:versionID="d260fd8749cee651eefab135be6f814d">
  <xsd:schema xmlns:xsd="http://www.w3.org/2001/XMLSchema" xmlns:xs="http://www.w3.org/2001/XMLSchema" xmlns:p="http://schemas.microsoft.com/office/2006/metadata/properties" xmlns:ns2="f34d4646-ea92-4a0f-9c34-e9f8cfe8aa57" targetNamespace="http://schemas.microsoft.com/office/2006/metadata/properties" ma:root="true" ma:fieldsID="d39236732ad22922ef86752ad904908e" ns2:_="">
    <xsd:import namespace="f34d4646-ea92-4a0f-9c34-e9f8cfe8aa57"/>
    <xsd:element name="properties">
      <xsd:complexType>
        <xsd:sequence>
          <xsd:element name="documentManagement">
            <xsd:complexType>
              <xsd:all>
                <xsd:element ref="ns2:Thumbnail" minOccurs="0"/>
                <xsd:element ref="ns2:Status" minOccurs="0"/>
                <xsd:element ref="ns2:DocumentVersion"/>
                <xsd:element ref="ns2:DocumentTitle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d4646-ea92-4a0f-9c34-e9f8cfe8aa57" elementFormDefault="qualified">
    <xsd:import namespace="http://schemas.microsoft.com/office/2006/documentManagement/types"/>
    <xsd:import namespace="http://schemas.microsoft.com/office/infopath/2007/PartnerControls"/>
    <xsd:element name="Thumbnail" ma:index="8" nillable="true" ma:displayName="Thumbnail" ma:format="Thumbnail" ma:internalName="Thumbnail">
      <xsd:simpleType>
        <xsd:restriction base="dms:Unknown"/>
      </xsd:simpleType>
    </xsd:element>
    <xsd:element name="Status" ma:index="9" nillable="true" ma:displayName="Document Status" ma:format="Dropdown" ma:internalName="Status">
      <xsd:simpleType>
        <xsd:union memberTypes="dms:Text">
          <xsd:simpleType>
            <xsd:restriction base="dms:Choice">
              <xsd:enumeration value="Approved"/>
              <xsd:enumeration value="in development"/>
            </xsd:restriction>
          </xsd:simpleType>
        </xsd:union>
      </xsd:simpleType>
    </xsd:element>
    <xsd:element name="DocumentVersion" ma:index="10" ma:displayName="Document Version" ma:default="1.0" ma:format="Dropdown" ma:internalName="DocumentVersion">
      <xsd:simpleType>
        <xsd:restriction base="dms:Text">
          <xsd:maxLength value="255"/>
        </xsd:restriction>
      </xsd:simpleType>
    </xsd:element>
    <xsd:element name="DocumentTitle" ma:index="11" nillable="true" ma:displayName="Document Title" ma:format="Dropdown" ma:internalName="DocumentTitle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Version xmlns="f34d4646-ea92-4a0f-9c34-e9f8cfe8aa57">1.0</DocumentVersion>
    <Thumbnail xmlns="f34d4646-ea92-4a0f-9c34-e9f8cfe8aa57" xsi:nil="true"/>
    <DocumentTitle xmlns="f34d4646-ea92-4a0f-9c34-e9f8cfe8aa57" xsi:nil="true"/>
    <Status xmlns="f34d4646-ea92-4a0f-9c34-e9f8cfe8aa5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BBSettings xmlns="http://schemas.bloomberg.com/settings/1.0">
  <Item name="DocumentId_Charts">{A211CA13-3D4D-40E9-8165-79E916930B0F}</Item>
  <Item xmlns="" name="ShapesMap_Charts">{"{A211CA13-3D4D-40E9-8165-79E916930B0F}":{"1266":{},"1267":{},"1268":{},"1270":{},"1272":{},"1274":{},"1305":{},"1307":{},"1334":{},"1335":{},"1336":{},"1352":{},"1353":{},"1354":{},"1355":{},"1356":{},"1357":{},"1358":{},"1359":{},"1368":{},"1392":{},"1394":{},"1395":{},"1396":{},"1397":{},"1399":{},"1400":{},"1401":{},"256":{}}}</Item>
</BBSettings>
</file>

<file path=customXml/itemProps1.xml><?xml version="1.0" encoding="utf-8"?>
<ds:datastoreItem xmlns:ds="http://schemas.openxmlformats.org/officeDocument/2006/customXml" ds:itemID="{0B95827C-E466-4F77-9119-7F746D7D61D4}">
  <ds:schemaRefs>
    <ds:schemaRef ds:uri="f34d4646-ea92-4a0f-9c34-e9f8cfe8aa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7663714-6C21-4029-81A8-B793582E91ED}">
  <ds:schemaRefs>
    <ds:schemaRef ds:uri="f34d4646-ea92-4a0f-9c34-e9f8cfe8aa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A9E8BDB-45E0-419C-B4EC-3D5B49D60F2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17ABF94-EC71-442D-9F9D-958392B40177}">
  <ds:schemaRefs>
    <ds:schemaRef ds:uri=""/>
    <ds:schemaRef ds:uri="http://schemas.bloomberg.com/settings/1.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edit Suisse PPT Template_4by3_220407</Template>
  <TotalTime>0</TotalTime>
  <Application>Microsoft Office PowerPoint</Application>
  <PresentationFormat>On-screen Show (4:3)</PresentationFormat>
  <Slides>28</Slides>
  <Notes>1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AA Group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  <vt:lpstr>Valu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udek, Magdalena (TCIZ 43)</dc:creator>
  <cp:revision>1</cp:revision>
  <dcterms:created xsi:type="dcterms:W3CDTF">2022-04-08T11:23:29Z</dcterms:created>
  <dcterms:modified xsi:type="dcterms:W3CDTF">2025-06-18T18:1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2:58:19.2045070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2df0ddff-2977-4894-8dcb-fe113338f7ab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MSIP_Label_e288a1f6-a325-4240-aff6-5cd6a619dbd5_Enabled">
    <vt:lpwstr>true</vt:lpwstr>
  </property>
  <property fmtid="{D5CDD505-2E9C-101B-9397-08002B2CF9AE}" pid="11" name="MSIP_Label_e288a1f6-a325-4240-aff6-5cd6a619dbd5_SetDate">
    <vt:lpwstr>2024-09-23T14:23:16Z</vt:lpwstr>
  </property>
  <property fmtid="{D5CDD505-2E9C-101B-9397-08002B2CF9AE}" pid="12" name="MSIP_Label_e288a1f6-a325-4240-aff6-5cd6a619dbd5_Method">
    <vt:lpwstr>Privileged</vt:lpwstr>
  </property>
  <property fmtid="{D5CDD505-2E9C-101B-9397-08002B2CF9AE}" pid="13" name="MSIP_Label_e288a1f6-a325-4240-aff6-5cd6a619dbd5_Name">
    <vt:lpwstr>Intern</vt:lpwstr>
  </property>
  <property fmtid="{D5CDD505-2E9C-101B-9397-08002B2CF9AE}" pid="14" name="MSIP_Label_e288a1f6-a325-4240-aff6-5cd6a619dbd5_SiteId">
    <vt:lpwstr>fe248b4e-07cf-4091-94fe-02474839f23d</vt:lpwstr>
  </property>
  <property fmtid="{D5CDD505-2E9C-101B-9397-08002B2CF9AE}" pid="15" name="MSIP_Label_e288a1f6-a325-4240-aff6-5cd6a619dbd5_ActionId">
    <vt:lpwstr>90463b05-39b2-4d3e-9f15-a7bd17a39548</vt:lpwstr>
  </property>
  <property fmtid="{D5CDD505-2E9C-101B-9397-08002B2CF9AE}" pid="16" name="MSIP_Label_e288a1f6-a325-4240-aff6-5cd6a619dbd5_ContentBits">
    <vt:lpwstr>0</vt:lpwstr>
  </property>
  <property fmtid="{D5CDD505-2E9C-101B-9397-08002B2CF9AE}" pid="17" name="ContentTypeId">
    <vt:lpwstr>0x010100487A00FE02A9714785974896FDE531CF</vt:lpwstr>
  </property>
</Properties>
</file>